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80.xml" ContentType="application/vnd.openxmlformats-officedocument.presentationml.tags+xml"/>
  <Override PartName="/ppt/notesSlides/notesSlide1.xml" ContentType="application/vnd.openxmlformats-officedocument.presentationml.notesSlide+xml"/>
  <Override PartName="/ppt/tags/tag181.xml" ContentType="application/vnd.openxmlformats-officedocument.presentationml.tags+xml"/>
  <Override PartName="/ppt/notesSlides/notesSlide2.xml" ContentType="application/vnd.openxmlformats-officedocument.presentationml.notesSlide+xml"/>
  <Override PartName="/ppt/tags/tag182.xml" ContentType="application/vnd.openxmlformats-officedocument.presentationml.tags+xml"/>
  <Override PartName="/ppt/notesSlides/notesSlide3.xml" ContentType="application/vnd.openxmlformats-officedocument.presentationml.notesSlide+xml"/>
  <Override PartName="/ppt/tags/tag183.xml" ContentType="application/vnd.openxmlformats-officedocument.presentationml.tags+xml"/>
  <Override PartName="/ppt/notesSlides/notesSlide4.xml" ContentType="application/vnd.openxmlformats-officedocument.presentationml.notesSlide+xml"/>
  <Override PartName="/ppt/tags/tag184.xml" ContentType="application/vnd.openxmlformats-officedocument.presentationml.tags+xml"/>
  <Override PartName="/ppt/notesSlides/notesSlide5.xml" ContentType="application/vnd.openxmlformats-officedocument.presentationml.notesSlide+xml"/>
  <Override PartName="/ppt/tags/tag18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86.xml" ContentType="application/vnd.openxmlformats-officedocument.presentationml.tags+xml"/>
  <Override PartName="/ppt/notesSlides/notesSlide7.xml" ContentType="application/vnd.openxmlformats-officedocument.presentationml.notesSlide+xml"/>
  <Override PartName="/ppt/tags/tag18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88.xml" ContentType="application/vnd.openxmlformats-officedocument.presentationml.tags+xml"/>
  <Override PartName="/ppt/notesSlides/notesSlide9.xml" ContentType="application/vnd.openxmlformats-officedocument.presentationml.notesSlide+xml"/>
  <Override PartName="/ppt/tags/tag18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90.xml" ContentType="application/vnd.openxmlformats-officedocument.presentationml.tags+xml"/>
  <Override PartName="/ppt/notesSlides/notesSlide11.xml" ContentType="application/vnd.openxmlformats-officedocument.presentationml.notesSlide+xml"/>
  <Override PartName="/ppt/tags/tag191.xml" ContentType="application/vnd.openxmlformats-officedocument.presentationml.tags+xml"/>
  <Override PartName="/ppt/notesSlides/notesSlide12.xml" ContentType="application/vnd.openxmlformats-officedocument.presentationml.notesSlide+xml"/>
  <Override PartName="/ppt/tags/tag192.xml" ContentType="application/vnd.openxmlformats-officedocument.presentationml.tags+xml"/>
  <Override PartName="/ppt/notesSlides/notesSlide13.xml" ContentType="application/vnd.openxmlformats-officedocument.presentationml.notesSlide+xml"/>
  <Override PartName="/ppt/tags/tag193.xml" ContentType="application/vnd.openxmlformats-officedocument.presentationml.tags+xml"/>
  <Override PartName="/ppt/notesSlides/notesSlide14.xml" ContentType="application/vnd.openxmlformats-officedocument.presentationml.notesSlide+xml"/>
  <Override PartName="/ppt/tags/tag194.xml" ContentType="application/vnd.openxmlformats-officedocument.presentationml.tags+xml"/>
  <Override PartName="/ppt/notesSlides/notesSlide15.xml" ContentType="application/vnd.openxmlformats-officedocument.presentationml.notesSlide+xml"/>
  <Override PartName="/ppt/tags/tag195.xml" ContentType="application/vnd.openxmlformats-officedocument.presentationml.tags+xml"/>
  <Override PartName="/ppt/notesSlides/notesSlide16.xml" ContentType="application/vnd.openxmlformats-officedocument.presentationml.notesSlide+xml"/>
  <Override PartName="/ppt/tags/tag196.xml" ContentType="application/vnd.openxmlformats-officedocument.presentationml.tags+xml"/>
  <Override PartName="/ppt/notesSlides/notesSlide17.xml" ContentType="application/vnd.openxmlformats-officedocument.presentationml.notesSlide+xml"/>
  <Override PartName="/ppt/tags/tag197.xml" ContentType="application/vnd.openxmlformats-officedocument.presentationml.tags+xml"/>
  <Override PartName="/ppt/notesSlides/notesSlide18.xml" ContentType="application/vnd.openxmlformats-officedocument.presentationml.notesSlide+xml"/>
  <Override PartName="/ppt/tags/tag198.xml" ContentType="application/vnd.openxmlformats-officedocument.presentationml.tags+xml"/>
  <Override PartName="/ppt/notesSlides/notesSlide19.xml" ContentType="application/vnd.openxmlformats-officedocument.presentationml.notesSlide+xml"/>
  <Override PartName="/ppt/tags/tag199.xml" ContentType="application/vnd.openxmlformats-officedocument.presentationml.tags+xml"/>
  <Override PartName="/ppt/notesSlides/notesSlide20.xml" ContentType="application/vnd.openxmlformats-officedocument.presentationml.notesSlide+xml"/>
  <Override PartName="/ppt/tags/tag200.xml" ContentType="application/vnd.openxmlformats-officedocument.presentationml.tags+xml"/>
  <Override PartName="/ppt/notesSlides/notesSlide21.xml" ContentType="application/vnd.openxmlformats-officedocument.presentationml.notesSlide+xml"/>
  <Override PartName="/ppt/tags/tag201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697" r:id="rId3"/>
    <p:sldMasterId id="2147483721" r:id="rId4"/>
    <p:sldMasterId id="2147483746" r:id="rId5"/>
  </p:sldMasterIdLst>
  <p:notesMasterIdLst>
    <p:notesMasterId r:id="rId29"/>
  </p:notesMasterIdLst>
  <p:handoutMasterIdLst>
    <p:handoutMasterId r:id="rId30"/>
  </p:handoutMasterIdLst>
  <p:sldIdLst>
    <p:sldId id="286" r:id="rId6"/>
    <p:sldId id="350" r:id="rId7"/>
    <p:sldId id="263" r:id="rId8"/>
    <p:sldId id="332" r:id="rId9"/>
    <p:sldId id="333" r:id="rId10"/>
    <p:sldId id="323" r:id="rId11"/>
    <p:sldId id="339" r:id="rId12"/>
    <p:sldId id="345" r:id="rId13"/>
    <p:sldId id="334" r:id="rId14"/>
    <p:sldId id="346" r:id="rId15"/>
    <p:sldId id="336" r:id="rId16"/>
    <p:sldId id="338" r:id="rId17"/>
    <p:sldId id="321" r:id="rId18"/>
    <p:sldId id="327" r:id="rId19"/>
    <p:sldId id="328" r:id="rId20"/>
    <p:sldId id="351" r:id="rId21"/>
    <p:sldId id="330" r:id="rId22"/>
    <p:sldId id="348" r:id="rId23"/>
    <p:sldId id="352" r:id="rId24"/>
    <p:sldId id="356" r:id="rId25"/>
    <p:sldId id="355" r:id="rId26"/>
    <p:sldId id="354" r:id="rId27"/>
    <p:sldId id="331" r:id="rId28"/>
  </p:sldIdLst>
  <p:sldSz cx="12192000" cy="6858000"/>
  <p:notesSz cx="6888163" cy="10018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3A709"/>
    <a:srgbClr val="FC371C"/>
    <a:srgbClr val="CF1B03"/>
    <a:srgbClr val="CC3300"/>
    <a:srgbClr val="B18463"/>
    <a:srgbClr val="705038"/>
    <a:srgbClr val="307A2E"/>
    <a:srgbClr val="D1D60C"/>
    <a:srgbClr val="E4E402"/>
    <a:srgbClr val="DA9A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5.bin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6.bin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7.bin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118563910864337"/>
          <c:y val="0.18945547073277083"/>
          <c:w val="0.79164847121103155"/>
          <c:h val="0.66931543019828299"/>
        </c:manualLayout>
      </c:layout>
      <c:pie3DChart>
        <c:varyColors val="1"/>
        <c:ser>
          <c:idx val="0"/>
          <c:order val="0"/>
          <c:explosion val="9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E5D-470C-886A-86F8B7DE8C3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E5D-470C-886A-86F8B7DE8C3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9E5D-470C-886A-86F8B7DE8C3A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6-9E5D-470C-886A-86F8B7DE8C3A}"/>
              </c:ext>
            </c:extLst>
          </c:dPt>
          <c:dLbls>
            <c:dLbl>
              <c:idx val="0"/>
              <c:layout>
                <c:manualLayout>
                  <c:x val="7.9710921551472566E-2"/>
                  <c:y val="1.0986935442003474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E5D-470C-886A-86F8B7DE8C3A}"/>
                </c:ext>
              </c:extLst>
            </c:dLbl>
            <c:dLbl>
              <c:idx val="1"/>
              <c:layout>
                <c:manualLayout>
                  <c:x val="5.9807888597256977E-3"/>
                  <c:y val="0.1668006604310328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E5D-470C-886A-86F8B7DE8C3A}"/>
                </c:ext>
              </c:extLst>
            </c:dLbl>
            <c:dLbl>
              <c:idx val="2"/>
              <c:layout>
                <c:manualLayout>
                  <c:x val="-0.37123806138815979"/>
                  <c:y val="-1.739664499973112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802666593759113"/>
                      <c:h val="0.2533189182155615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9E5D-470C-886A-86F8B7DE8C3A}"/>
                </c:ext>
              </c:extLst>
            </c:dLbl>
            <c:dLbl>
              <c:idx val="3"/>
              <c:layout>
                <c:manualLayout>
                  <c:x val="-6.4129483814523184E-3"/>
                  <c:y val="-4.698110721116599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6492599883348"/>
                      <c:h val="0.2533189182155615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9E5D-470C-886A-86F8B7DE8C3A}"/>
                </c:ext>
              </c:extLst>
            </c:dLbl>
            <c:spPr>
              <a:noFill/>
              <a:ln>
                <a:solidFill>
                  <a:schemeClr val="tx1"/>
                </a:solidFill>
              </a:ln>
              <a:effectLst/>
            </c:spPr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020-2021'!$P$45:$P$48</c:f>
              <c:strCache>
                <c:ptCount val="4"/>
                <c:pt idx="0">
                  <c:v>Nasionale Regering</c:v>
                </c:pt>
                <c:pt idx="1">
                  <c:v>Provinsiale Regering</c:v>
                </c:pt>
                <c:pt idx="2">
                  <c:v>Eksterne Lenings</c:v>
                </c:pt>
                <c:pt idx="3">
                  <c:v>Kapitaalvervangingsreserwe</c:v>
                </c:pt>
              </c:strCache>
            </c:strRef>
          </c:cat>
          <c:val>
            <c:numRef>
              <c:f>'2020-2021'!$Q$45:$Q$48</c:f>
              <c:numCache>
                <c:formatCode>_(* #,##0_);_(* \(#,##0\);_(* "-"??_);_(@_)</c:formatCode>
                <c:ptCount val="4"/>
                <c:pt idx="0">
                  <c:v>15970566</c:v>
                </c:pt>
                <c:pt idx="1">
                  <c:v>140000</c:v>
                </c:pt>
                <c:pt idx="2">
                  <c:v>40000000</c:v>
                </c:pt>
                <c:pt idx="3">
                  <c:v>1885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E5D-470C-886A-86F8B7DE8C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5B9BD5">
          <a:lumMod val="75000"/>
        </a:srgbClr>
      </a:solidFill>
      <a:round/>
    </a:ln>
    <a:effectLst/>
  </c:spPr>
  <c:txPr>
    <a:bodyPr/>
    <a:lstStyle/>
    <a:p>
      <a:pPr>
        <a:defRPr sz="24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en-ZA"/>
              <a:t>BEDRYFSUITGAWES PER TIPE</a:t>
            </a:r>
          </a:p>
        </c:rich>
      </c:tx>
      <c:overlay val="0"/>
      <c:spPr>
        <a:noFill/>
        <a:ln>
          <a:solidFill>
            <a:schemeClr val="tx1"/>
          </a:solidFill>
        </a:ln>
        <a:effectLst/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9889868186372545"/>
          <c:y val="0.22989327347753655"/>
          <c:w val="0.64383259294170092"/>
          <c:h val="0.4764792730858276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9A7-48F0-BCCC-3DD6D69B2AE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9A7-48F0-BCCC-3DD6D69B2AE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9A7-48F0-BCCC-3DD6D69B2AE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9A7-48F0-BCCC-3DD6D69B2AE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B9A7-48F0-BCCC-3DD6D69B2AE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B9A7-48F0-BCCC-3DD6D69B2AE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B9A7-48F0-BCCC-3DD6D69B2AE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B9A7-48F0-BCCC-3DD6D69B2AE6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B9A7-48F0-BCCC-3DD6D69B2AE6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B9A7-48F0-BCCC-3DD6D69B2AE6}"/>
              </c:ext>
            </c:extLst>
          </c:dPt>
          <c:dLbls>
            <c:dLbl>
              <c:idx val="0"/>
              <c:layout>
                <c:manualLayout>
                  <c:x val="5.1225910562730417E-2"/>
                  <c:y val="-8.7711428598194002E-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9A7-48F0-BCCC-3DD6D69B2AE6}"/>
                </c:ext>
              </c:extLst>
            </c:dLbl>
            <c:dLbl>
              <c:idx val="1"/>
              <c:layout>
                <c:manualLayout>
                  <c:x val="9.4592022164372555E-2"/>
                  <c:y val="-0.1142863411423417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9A7-48F0-BCCC-3DD6D69B2AE6}"/>
                </c:ext>
              </c:extLst>
            </c:dLbl>
            <c:dLbl>
              <c:idx val="2"/>
              <c:layout>
                <c:manualLayout>
                  <c:x val="0.13331600254584947"/>
                  <c:y val="7.0373070178454664E-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9A7-48F0-BCCC-3DD6D69B2AE6}"/>
                </c:ext>
              </c:extLst>
            </c:dLbl>
            <c:dLbl>
              <c:idx val="3"/>
              <c:layout>
                <c:manualLayout>
                  <c:x val="-3.0659131620321672E-2"/>
                  <c:y val="0.1075439006223726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9A7-48F0-BCCC-3DD6D69B2AE6}"/>
                </c:ext>
              </c:extLst>
            </c:dLbl>
            <c:dLbl>
              <c:idx val="4"/>
              <c:layout>
                <c:manualLayout>
                  <c:x val="-0.16956994472155393"/>
                  <c:y val="0.13412953465536867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9A7-48F0-BCCC-3DD6D69B2AE6}"/>
                </c:ext>
              </c:extLst>
            </c:dLbl>
            <c:dLbl>
              <c:idx val="5"/>
              <c:layout>
                <c:manualLayout>
                  <c:x val="-0.10592046168791722"/>
                  <c:y val="0.14955014789819115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9A7-48F0-BCCC-3DD6D69B2AE6}"/>
                </c:ext>
              </c:extLst>
            </c:dLbl>
            <c:dLbl>
              <c:idx val="6"/>
              <c:layout>
                <c:manualLayout>
                  <c:x val="-0.1456755904619699"/>
                  <c:y val="0.28378846748959874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9A7-48F0-BCCC-3DD6D69B2AE6}"/>
                </c:ext>
              </c:extLst>
            </c:dLbl>
            <c:dLbl>
              <c:idx val="7"/>
              <c:layout>
                <c:manualLayout>
                  <c:x val="-0.14109517374774558"/>
                  <c:y val="0.16277756765120513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9A7-48F0-BCCC-3DD6D69B2AE6}"/>
                </c:ext>
              </c:extLst>
            </c:dLbl>
            <c:dLbl>
              <c:idx val="8"/>
              <c:layout>
                <c:manualLayout>
                  <c:x val="-0.10104257166640722"/>
                  <c:y val="4.2657802996379099E-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9A7-48F0-BCCC-3DD6D69B2AE6}"/>
                </c:ext>
              </c:extLst>
            </c:dLbl>
            <c:dLbl>
              <c:idx val="9"/>
              <c:layout>
                <c:manualLayout>
                  <c:x val="-0.23674971882477577"/>
                  <c:y val="-9.8838038258318148E-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9A7-48F0-BCCC-3DD6D69B2AE6}"/>
                </c:ext>
              </c:extLst>
            </c:dLbl>
            <c:numFmt formatCode="General" sourceLinked="0"/>
            <c:spPr>
              <a:noFill/>
              <a:ln>
                <a:solidFill>
                  <a:schemeClr val="tx1"/>
                </a:solidFill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5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020-2021'!$P$63:$P$72</c:f>
              <c:strCache>
                <c:ptCount val="10"/>
                <c:pt idx="0">
                  <c:v>Werknemer verwante koste</c:v>
                </c:pt>
                <c:pt idx="1">
                  <c:v>Vergoeding van Ampsdraers</c:v>
                </c:pt>
                <c:pt idx="2">
                  <c:v>Voorsiening vir slegte skulde</c:v>
                </c:pt>
                <c:pt idx="3">
                  <c:v>Waardevermindering en waardedaling</c:v>
                </c:pt>
                <c:pt idx="4">
                  <c:v>Finansieringskoste</c:v>
                </c:pt>
                <c:pt idx="5">
                  <c:v>Grootmaataankope</c:v>
                </c:pt>
                <c:pt idx="6">
                  <c:v>Materiale en voorraad</c:v>
                </c:pt>
                <c:pt idx="7">
                  <c:v>Gekontrakteerde Dienste</c:v>
                </c:pt>
                <c:pt idx="8">
                  <c:v>Oordragte en toekennings</c:v>
                </c:pt>
                <c:pt idx="9">
                  <c:v>Ander Uitgawes</c:v>
                </c:pt>
              </c:strCache>
            </c:strRef>
          </c:cat>
          <c:val>
            <c:numRef>
              <c:f>'2020-2021'!$Q$63:$Q$72</c:f>
              <c:numCache>
                <c:formatCode>_(* #,##0_);_(* \(#,##0\);_(* "-"??_);_(@_)</c:formatCode>
                <c:ptCount val="10"/>
                <c:pt idx="0">
                  <c:v>166242551</c:v>
                </c:pt>
                <c:pt idx="1">
                  <c:v>6993000</c:v>
                </c:pt>
                <c:pt idx="2">
                  <c:v>30415141.925545279</c:v>
                </c:pt>
                <c:pt idx="3">
                  <c:v>28668000</c:v>
                </c:pt>
                <c:pt idx="4">
                  <c:v>19514400</c:v>
                </c:pt>
                <c:pt idx="5">
                  <c:v>128498000</c:v>
                </c:pt>
                <c:pt idx="6">
                  <c:v>18631200</c:v>
                </c:pt>
                <c:pt idx="7">
                  <c:v>45347400</c:v>
                </c:pt>
                <c:pt idx="8">
                  <c:v>6822000</c:v>
                </c:pt>
                <c:pt idx="9">
                  <c:v>424845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9A7-48F0-BCCC-3DD6D69B2A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5B9BD5">
          <a:lumMod val="75000"/>
        </a:srgb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333333"/>
                </a:solidFill>
                <a:latin typeface="Arial"/>
                <a:ea typeface="Arial"/>
                <a:cs typeface="Arial"/>
              </a:defRPr>
            </a:pPr>
            <a:r>
              <a:rPr lang="en-ZA"/>
              <a:t>BRONNE VAN INKOMSTE</a:t>
            </a:r>
          </a:p>
        </c:rich>
      </c:tx>
      <c:layout>
        <c:manualLayout>
          <c:xMode val="edge"/>
          <c:yMode val="edge"/>
          <c:x val="0.43310626234155691"/>
          <c:y val="1.5079833770778654E-2"/>
        </c:manualLayout>
      </c:layout>
      <c:overlay val="1"/>
      <c:spPr>
        <a:noFill/>
        <a:ln w="6350">
          <a:solidFill>
            <a:schemeClr val="tx1"/>
          </a:solidFill>
        </a:ln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6133994722408804"/>
          <c:y val="0.21936549246189954"/>
          <c:w val="0.59939546508200559"/>
          <c:h val="0.58691007312272614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060-479C-A6B0-971B3FAC5B7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060-479C-A6B0-971B3FAC5B7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060-479C-A6B0-971B3FAC5B7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060-479C-A6B0-971B3FAC5B7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B060-479C-A6B0-971B3FAC5B7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B060-479C-A6B0-971B3FAC5B7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B060-479C-A6B0-971B3FAC5B7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B060-479C-A6B0-971B3FAC5B7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B060-479C-A6B0-971B3FAC5B70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B060-479C-A6B0-971B3FAC5B70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B060-479C-A6B0-971B3FAC5B70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7-B060-479C-A6B0-971B3FAC5B70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9-B060-479C-A6B0-971B3FAC5B70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1A-B060-479C-A6B0-971B3FAC5B70}"/>
              </c:ext>
            </c:extLst>
          </c:dPt>
          <c:dLbls>
            <c:dLbl>
              <c:idx val="0"/>
              <c:layout>
                <c:manualLayout>
                  <c:x val="7.6944220721822373E-2"/>
                  <c:y val="1.6945574004383915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060-479C-A6B0-971B3FAC5B70}"/>
                </c:ext>
              </c:extLst>
            </c:dLbl>
            <c:dLbl>
              <c:idx val="1"/>
              <c:layout>
                <c:manualLayout>
                  <c:x val="-6.7579221366516349E-3"/>
                  <c:y val="5.7189467287902709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060-479C-A6B0-971B3FAC5B70}"/>
                </c:ext>
              </c:extLst>
            </c:dLbl>
            <c:dLbl>
              <c:idx val="2"/>
              <c:layout>
                <c:manualLayout>
                  <c:x val="0.20261610780211378"/>
                  <c:y val="1.4615392669202198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060-479C-A6B0-971B3FAC5B70}"/>
                </c:ext>
              </c:extLst>
            </c:dLbl>
            <c:dLbl>
              <c:idx val="3"/>
              <c:layout>
                <c:manualLayout>
                  <c:x val="0.19693841797244446"/>
                  <c:y val="0.16248048280713889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060-479C-A6B0-971B3FAC5B70}"/>
                </c:ext>
              </c:extLst>
            </c:dLbl>
            <c:dLbl>
              <c:idx val="4"/>
              <c:layout>
                <c:manualLayout>
                  <c:x val="5.034087644919974E-2"/>
                  <c:y val="0.2198706964770110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355836343451855"/>
                      <c:h val="0.1153086350354192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B060-479C-A6B0-971B3FAC5B70}"/>
                </c:ext>
              </c:extLst>
            </c:dLbl>
            <c:dLbl>
              <c:idx val="5"/>
              <c:layout>
                <c:manualLayout>
                  <c:x val="-8.4444740370074906E-2"/>
                  <c:y val="0.15226557211722974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060-479C-A6B0-971B3FAC5B70}"/>
                </c:ext>
              </c:extLst>
            </c:dLbl>
            <c:dLbl>
              <c:idx val="6"/>
              <c:layout>
                <c:manualLayout>
                  <c:x val="-5.2090671475744608E-2"/>
                  <c:y val="6.3931450628757241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060-479C-A6B0-971B3FAC5B70}"/>
                </c:ext>
              </c:extLst>
            </c:dLbl>
            <c:dLbl>
              <c:idx val="7"/>
              <c:layout>
                <c:manualLayout>
                  <c:x val="-5.0052630545484554E-2"/>
                  <c:y val="-3.5475050597216187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060-479C-A6B0-971B3FAC5B70}"/>
                </c:ext>
              </c:extLst>
            </c:dLbl>
            <c:dLbl>
              <c:idx val="8"/>
              <c:layout>
                <c:manualLayout>
                  <c:x val="-4.3679712408431569E-2"/>
                  <c:y val="-0.11223607778641403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060-479C-A6B0-971B3FAC5B70}"/>
                </c:ext>
              </c:extLst>
            </c:dLbl>
            <c:dLbl>
              <c:idx val="9"/>
              <c:layout>
                <c:manualLayout>
                  <c:x val="-5.5852911580021702E-2"/>
                  <c:y val="-0.10811260180460275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060-479C-A6B0-971B3FAC5B70}"/>
                </c:ext>
              </c:extLst>
            </c:dLbl>
            <c:dLbl>
              <c:idx val="10"/>
              <c:layout>
                <c:manualLayout>
                  <c:x val="-5.1089084430034064E-2"/>
                  <c:y val="-0.2071186809803281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0891447507417"/>
                      <c:h val="7.899714484276558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5-B060-479C-A6B0-971B3FAC5B70}"/>
                </c:ext>
              </c:extLst>
            </c:dLbl>
            <c:dLbl>
              <c:idx val="11"/>
              <c:layout>
                <c:manualLayout>
                  <c:x val="-6.6985071263302248E-2"/>
                  <c:y val="-0.19041988177179689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B060-479C-A6B0-971B3FAC5B70}"/>
                </c:ext>
              </c:extLst>
            </c:dLbl>
            <c:dLbl>
              <c:idx val="12"/>
              <c:layout>
                <c:manualLayout>
                  <c:x val="4.7566915116151562E-2"/>
                  <c:y val="-6.9443761299084833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B060-479C-A6B0-971B3FAC5B70}"/>
                </c:ext>
              </c:extLst>
            </c:dLbl>
            <c:dLbl>
              <c:idx val="13"/>
              <c:layout>
                <c:manualLayout>
                  <c:x val="0.20721087050009171"/>
                  <c:y val="-2.6845491380687522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B060-479C-A6B0-971B3FAC5B70}"/>
                </c:ext>
              </c:extLst>
            </c:dLbl>
            <c:numFmt formatCode="0.00%" sourceLinked="0"/>
            <c:spPr>
              <a:noFill/>
              <a:ln w="3175">
                <a:solidFill>
                  <a:schemeClr val="tx1"/>
                </a:solidFill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020-2021'!$P$128:$P$141</c:f>
              <c:strCache>
                <c:ptCount val="14"/>
                <c:pt idx="0">
                  <c:v>Eiendomsbelasting</c:v>
                </c:pt>
                <c:pt idx="1">
                  <c:v>Diensteheffings - Elektrisiteit</c:v>
                </c:pt>
                <c:pt idx="2">
                  <c:v>Diensteheffings - Water</c:v>
                </c:pt>
                <c:pt idx="3">
                  <c:v>Diensteheffings - Riolering</c:v>
                </c:pt>
                <c:pt idx="4">
                  <c:v>Diensteheffings - Vullisverwydering</c:v>
                </c:pt>
                <c:pt idx="5">
                  <c:v>Huur van fasiliteite en toerusting</c:v>
                </c:pt>
                <c:pt idx="6">
                  <c:v>Rente - Eksterne beleggings</c:v>
                </c:pt>
                <c:pt idx="7">
                  <c:v>Rente - Uitstaande Debiteure</c:v>
                </c:pt>
                <c:pt idx="8">
                  <c:v>Boetes, Toeslae en Prysgawe</c:v>
                </c:pt>
                <c:pt idx="9">
                  <c:v>Lisensies en permitte</c:v>
                </c:pt>
                <c:pt idx="10">
                  <c:v>Agentskapsdienste</c:v>
                </c:pt>
                <c:pt idx="11">
                  <c:v>Oordragte en Subsidies - Operasioneel</c:v>
                </c:pt>
                <c:pt idx="12">
                  <c:v>Ander Inkomste</c:v>
                </c:pt>
                <c:pt idx="13">
                  <c:v>Oordragte en Subsidies - Kapitaal</c:v>
                </c:pt>
              </c:strCache>
            </c:strRef>
          </c:cat>
          <c:val>
            <c:numRef>
              <c:f>'2020-2021'!$Q$128:$Q$141</c:f>
              <c:numCache>
                <c:formatCode>_(* #,##0_);_(* \(#,##0\);_(* "-"??_);_(@_)</c:formatCode>
                <c:ptCount val="14"/>
                <c:pt idx="0">
                  <c:v>93674997.15977852</c:v>
                </c:pt>
                <c:pt idx="1">
                  <c:v>161051502.28839996</c:v>
                </c:pt>
                <c:pt idx="2">
                  <c:v>36807165.795434989</c:v>
                </c:pt>
                <c:pt idx="3">
                  <c:v>17702000</c:v>
                </c:pt>
                <c:pt idx="4">
                  <c:v>32447000</c:v>
                </c:pt>
                <c:pt idx="5">
                  <c:v>1674000</c:v>
                </c:pt>
                <c:pt idx="6">
                  <c:v>7981000</c:v>
                </c:pt>
                <c:pt idx="7">
                  <c:v>5000000</c:v>
                </c:pt>
                <c:pt idx="8">
                  <c:v>21286000</c:v>
                </c:pt>
                <c:pt idx="9">
                  <c:v>77000</c:v>
                </c:pt>
                <c:pt idx="10">
                  <c:v>5788000</c:v>
                </c:pt>
                <c:pt idx="11">
                  <c:v>81237434</c:v>
                </c:pt>
                <c:pt idx="12">
                  <c:v>14025000</c:v>
                </c:pt>
                <c:pt idx="13">
                  <c:v>161105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B060-479C-A6B0-971B3FAC5B70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D-B060-479C-A6B0-971B3FAC5B7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F-B060-479C-A6B0-971B3FAC5B7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1-B060-479C-A6B0-971B3FAC5B7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3-B060-479C-A6B0-971B3FAC5B7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5-B060-479C-A6B0-971B3FAC5B7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7-B060-479C-A6B0-971B3FAC5B7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9-B060-479C-A6B0-971B3FAC5B7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B-B060-479C-A6B0-971B3FAC5B7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D-B060-479C-A6B0-971B3FAC5B70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F-B060-479C-A6B0-971B3FAC5B70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31-B060-479C-A6B0-971B3FAC5B70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33-B060-479C-A6B0-971B3FAC5B70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35-B060-479C-A6B0-971B3FAC5B70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36-B060-479C-A6B0-971B3FAC5B70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020-2021'!$P$128:$P$141</c:f>
              <c:strCache>
                <c:ptCount val="14"/>
                <c:pt idx="0">
                  <c:v>Eiendomsbelasting</c:v>
                </c:pt>
                <c:pt idx="1">
                  <c:v>Diensteheffings - Elektrisiteit</c:v>
                </c:pt>
                <c:pt idx="2">
                  <c:v>Diensteheffings - Water</c:v>
                </c:pt>
                <c:pt idx="3">
                  <c:v>Diensteheffings - Riolering</c:v>
                </c:pt>
                <c:pt idx="4">
                  <c:v>Diensteheffings - Vullisverwydering</c:v>
                </c:pt>
                <c:pt idx="5">
                  <c:v>Huur van fasiliteite en toerusting</c:v>
                </c:pt>
                <c:pt idx="6">
                  <c:v>Rente - Eksterne beleggings</c:v>
                </c:pt>
                <c:pt idx="7">
                  <c:v>Rente - Uitstaande Debiteure</c:v>
                </c:pt>
                <c:pt idx="8">
                  <c:v>Boetes, Toeslae en Prysgawe</c:v>
                </c:pt>
                <c:pt idx="9">
                  <c:v>Lisensies en permitte</c:v>
                </c:pt>
                <c:pt idx="10">
                  <c:v>Agentskapsdienste</c:v>
                </c:pt>
                <c:pt idx="11">
                  <c:v>Oordragte en Subsidies - Operasioneel</c:v>
                </c:pt>
                <c:pt idx="12">
                  <c:v>Ander Inkomste</c:v>
                </c:pt>
                <c:pt idx="13">
                  <c:v>Oordragte en Subsidies - Kapitaal</c:v>
                </c:pt>
              </c:strCache>
            </c:strRef>
          </c:cat>
          <c:val>
            <c:numRef>
              <c:f>'2020-2021'!$R$136:$R$150</c:f>
              <c:numCache>
                <c:formatCode>General</c:formatCode>
                <c:ptCount val="14"/>
              </c:numCache>
            </c:numRef>
          </c:val>
          <c:extLst>
            <c:ext xmlns:c16="http://schemas.microsoft.com/office/drawing/2014/chart" uri="{C3380CC4-5D6E-409C-BE32-E72D297353CC}">
              <c16:uniqueId val="{00000037-B060-479C-A6B0-971B3FAC5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5B9BD5">
          <a:lumMod val="75000"/>
        </a:srgb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2676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1700" y="0"/>
            <a:ext cx="2984870" cy="502676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r">
              <a:defRPr sz="1200"/>
            </a:lvl1pPr>
          </a:lstStyle>
          <a:p>
            <a:fld id="{CFC32209-6951-485A-BF37-6A3073802242}" type="datetimeFigureOut">
              <a:rPr lang="en-ZA" smtClean="0"/>
              <a:t>2022/04/14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16039"/>
            <a:ext cx="2984870" cy="502675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1700" y="9516039"/>
            <a:ext cx="2984870" cy="502675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r">
              <a:defRPr sz="1200"/>
            </a:lvl1pPr>
          </a:lstStyle>
          <a:p>
            <a:fld id="{701335B2-CAFB-4179-B0EF-4A6132FE20D4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651341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2676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700" y="0"/>
            <a:ext cx="2984870" cy="502676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r">
              <a:defRPr sz="1200"/>
            </a:lvl1pPr>
          </a:lstStyle>
          <a:p>
            <a:fld id="{CC9BCE41-EE9E-4EB9-B6C4-7676DD7AD74E}" type="datetimeFigureOut">
              <a:rPr lang="en-ZA" smtClean="0"/>
              <a:t>2022/04/1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28" tIns="46214" rIns="92428" bIns="46214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1506"/>
            <a:ext cx="5510530" cy="3944868"/>
          </a:xfrm>
          <a:prstGeom prst="rect">
            <a:avLst/>
          </a:prstGeom>
        </p:spPr>
        <p:txBody>
          <a:bodyPr vert="horz" lIns="92428" tIns="46214" rIns="92428" bIns="462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516039"/>
            <a:ext cx="2984870" cy="502675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700" y="9516039"/>
            <a:ext cx="2984870" cy="502675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r">
              <a:defRPr sz="1200"/>
            </a:lvl1pPr>
          </a:lstStyle>
          <a:p>
            <a:fld id="{0011224A-9575-4302-BC3D-13FB6A5386D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15052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C8D481-5EB3-4BB0-842D-EFDD63368360}" type="slidenum">
              <a:rPr lang="en-ZA" smtClean="0">
                <a:solidFill>
                  <a:prstClr val="black"/>
                </a:solidFill>
              </a:rPr>
              <a:pPr/>
              <a:t>1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1273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61555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5460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35080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/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/>
              <a:t>13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774116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14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460658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65580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7620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17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909995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4313" y="838200"/>
            <a:ext cx="7448551" cy="4189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62511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886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4792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5960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3847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0018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4313" y="838200"/>
            <a:ext cx="7448551" cy="4189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3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77432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/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/>
              <a:t>4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394944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451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6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984409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83034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9508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7313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9.xml"/><Relationship Id="rId4" Type="http://schemas.openxmlformats.org/officeDocument/2006/relationships/image" Target="../media/image5.pn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tags" Target="../tags/tag9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0.xml"/><Relationship Id="rId1" Type="http://schemas.openxmlformats.org/officeDocument/2006/relationships/tags" Target="../tags/tag9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tags" Target="../tags/tag10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5.xml"/><Relationship Id="rId4" Type="http://schemas.openxmlformats.org/officeDocument/2006/relationships/image" Target="../media/image15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4.xml"/><Relationship Id="rId1" Type="http://schemas.openxmlformats.org/officeDocument/2006/relationships/tags" Target="../tags/tag14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6.xml"/><Relationship Id="rId1" Type="http://schemas.openxmlformats.org/officeDocument/2006/relationships/tags" Target="../tags/tag14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8.xml"/><Relationship Id="rId1" Type="http://schemas.openxmlformats.org/officeDocument/2006/relationships/tags" Target="../tags/tag14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0.xml"/><Relationship Id="rId1" Type="http://schemas.openxmlformats.org/officeDocument/2006/relationships/tags" Target="../tags/tag149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2.xml"/><Relationship Id="rId1" Type="http://schemas.openxmlformats.org/officeDocument/2006/relationships/tags" Target="../tags/tag15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14096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04843" y="5944195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99856" y="5944195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12555" y="5944195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" y="3703753"/>
            <a:ext cx="2783632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783633" y="3724723"/>
            <a:ext cx="2232247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015881" y="3703753"/>
            <a:ext cx="2141091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156971" y="3703753"/>
            <a:ext cx="2035373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9192344" y="3721527"/>
            <a:ext cx="2999656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57570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3" y="5681849"/>
            <a:ext cx="1101722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Isosceles Triangle 8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60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398" y="3645024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3645024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206971" y="3645024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5399" y="141277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319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74860" y="1412776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70007" y="1412776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186433" y="1412776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74861" y="393305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3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95400" y="2975180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5400" y="4537584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30" y="1412776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0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19897" y="1432991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7919897" y="2995395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919897" y="4557799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4446" y="1427497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08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50077" y="476672"/>
            <a:ext cx="20954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</a:rPr>
              <a:t>Contact Us</a:t>
            </a:r>
            <a:endParaRPr lang="en-GB" sz="2400" b="1" dirty="0">
              <a:solidFill>
                <a:prstClr val="white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vironmental Affairs and Development Planning\WCG - Logo - Environmental Affairs and Development Planning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4903" y="1923155"/>
            <a:ext cx="3214464" cy="679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37999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  <a:cs typeface="Arabic Typesetting" panose="03020402040406030203" pitchFamily="66" charset="-78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7024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95399" y="1412777"/>
            <a:ext cx="10838996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64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 and Footn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08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67409" y="1196752"/>
            <a:ext cx="10585175" cy="36004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</p:spTree>
    <p:extLst>
      <p:ext uri="{BB962C8B-B14F-4D97-AF65-F5344CB8AC3E}">
        <p14:creationId xmlns:p14="http://schemas.microsoft.com/office/powerpoint/2010/main" val="296246110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5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35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04512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54110" y="1412774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95399" y="1412775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09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56040" y="1412776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3532181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25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4263468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21827" y="4263468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1562397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751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398" y="3645024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3645024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206971" y="3645024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5399" y="141277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88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74860" y="1412776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70007" y="1412776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186433" y="1412776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74861" y="393305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4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5399" y="180976"/>
            <a:ext cx="10873209" cy="559256"/>
          </a:xfrm>
        </p:spPr>
        <p:txBody>
          <a:bodyPr wrap="none">
            <a:noAutofit/>
          </a:bodyPr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1C05B66C-8BBC-4727-B35B-1A99CC565EDC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398" y="1174643"/>
            <a:ext cx="10873209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8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871337" y="6468150"/>
            <a:ext cx="2977191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900" dirty="0">
                <a:solidFill>
                  <a:srgbClr val="998F86"/>
                </a:solidFill>
              </a:rPr>
              <a:t>Bergrivier Municipality: 4th Generation IDP Support</a:t>
            </a:r>
            <a:endParaRPr lang="en-GB" sz="900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879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95400" y="2975180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5400" y="4537584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30" y="1412776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66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19897" y="1432991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7919897" y="2995395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919897" y="4557799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4446" y="1427497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95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50077" y="476672"/>
            <a:ext cx="20954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</a:rPr>
              <a:t>Contact Us</a:t>
            </a:r>
            <a:endParaRPr lang="en-GB" sz="2400" b="1" dirty="0">
              <a:solidFill>
                <a:prstClr val="white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vironmental Affairs and Development Planning\WCG - Logo - Environmental Affairs and Development Planning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4903" y="1923155"/>
            <a:ext cx="3214464" cy="679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42750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  <a:cs typeface="Arabic Typesetting" panose="03020402040406030203" pitchFamily="66" charset="-78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5820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600200" y="0"/>
            <a:ext cx="5029200" cy="59436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777" y="3019706"/>
            <a:ext cx="4846320" cy="238760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777" y="5381894"/>
            <a:ext cx="4846320" cy="44805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8" name="Picture 7" descr="Puffy white clouds in deep blue sky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7400"/>
            <a:ext cx="1490472" cy="3886200"/>
          </a:xfrm>
          <a:prstGeom prst="rect">
            <a:avLst/>
          </a:prstGeom>
        </p:spPr>
      </p:pic>
      <p:pic>
        <p:nvPicPr>
          <p:cNvPr id="10" name="Picture 9" descr="Closeup of plant shoot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9128" y="2057400"/>
            <a:ext cx="2060767" cy="3886200"/>
          </a:xfrm>
          <a:prstGeom prst="rect">
            <a:avLst/>
          </a:prstGeom>
        </p:spPr>
      </p:pic>
      <p:pic>
        <p:nvPicPr>
          <p:cNvPr id="11" name="Picture 10" descr="Waves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09623" y="2057400"/>
            <a:ext cx="3282696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402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BBEF9-8A0D-40BE-B39D-3BF38973BE6B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14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00199" y="2059146"/>
            <a:ext cx="7199696" cy="3886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777" y="2263913"/>
            <a:ext cx="6949440" cy="314339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777" y="5381893"/>
            <a:ext cx="6949440" cy="44952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 descr="Closeup of green plants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9146"/>
            <a:ext cx="1490472" cy="3886200"/>
          </a:xfrm>
          <a:prstGeom prst="rect">
            <a:avLst/>
          </a:prstGeom>
        </p:spPr>
      </p:pic>
      <p:pic>
        <p:nvPicPr>
          <p:cNvPr id="9" name="Picture 8" descr="Waves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09623" y="2059146"/>
            <a:ext cx="3282696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9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768">
          <p15:clr>
            <a:srgbClr val="FDE53C"/>
          </p15:clr>
        </p15:guide>
        <p15:guide id="2" orient="horz" pos="1296">
          <p15:clr>
            <a:srgbClr val="FDE53C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09700" y="1556281"/>
            <a:ext cx="4610099" cy="4620682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56281"/>
            <a:ext cx="4609775" cy="4620682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A17D42-FB23-4862-855E-CFC2C78265D8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070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09699" y="1554480"/>
            <a:ext cx="4608576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09699" y="2434147"/>
            <a:ext cx="4608576" cy="381127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554480"/>
            <a:ext cx="4610100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434147"/>
            <a:ext cx="4610100" cy="381127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82E4E-53E8-4088-9A4E-A379CCA5FBC3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86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9BB12-D214-4CCA-A2EE-F0E90CD2E4EF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02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196753"/>
            <a:ext cx="5184575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196753"/>
            <a:ext cx="5222370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Isosceles Triangle 7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97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50ED20-9580-4A3F-B8D5-3CABFCB47640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649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2434" y="919616"/>
            <a:ext cx="4155622" cy="253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9699" y="915923"/>
            <a:ext cx="5216979" cy="5065776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82434" y="3502152"/>
            <a:ext cx="4155622" cy="2479548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D4C3C-FC57-4F1D-BBEF-715D227BC8F1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48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2435" y="919616"/>
            <a:ext cx="4155622" cy="253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"/>
          </p:nvPr>
        </p:nvSpPr>
        <p:spPr>
          <a:xfrm>
            <a:off x="0" y="915923"/>
            <a:ext cx="6626677" cy="5065776"/>
          </a:xfrm>
        </p:spPr>
        <p:txBody>
          <a:bodyPr tIns="1371600">
            <a:normAutofit/>
          </a:bodyPr>
          <a:lstStyle>
            <a:lvl1pPr marL="0" indent="0" algn="ctr">
              <a:spcBef>
                <a:spcPts val="0"/>
              </a:spcBef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82435" y="3502152"/>
            <a:ext cx="4155622" cy="2479547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2FAF1-9F82-45D7-AC8E-935ABEEBACC3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573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70716D-6779-4284-BB21-526018D56102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93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190500"/>
            <a:ext cx="2057400" cy="59864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90500"/>
            <a:ext cx="7734300" cy="598646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BEE31-C4A3-4F63-A837-B2394D9981DB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10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000" y="3517901"/>
            <a:ext cx="6012000" cy="1409700"/>
          </a:xfrm>
          <a:solidFill>
            <a:schemeClr val="tx1"/>
          </a:solidFill>
        </p:spPr>
        <p:txBody>
          <a:bodyPr lIns="288000" rIns="432000" bIns="144000" anchor="b"/>
          <a:lstStyle>
            <a:lvl1pPr algn="r">
              <a:defRPr sz="42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Z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000" y="4927600"/>
            <a:ext cx="6012000" cy="1845743"/>
          </a:xfrm>
          <a:solidFill>
            <a:schemeClr val="tx1">
              <a:lumMod val="85000"/>
              <a:lumOff val="15000"/>
            </a:schemeClr>
          </a:solidFill>
        </p:spPr>
        <p:txBody>
          <a:bodyPr lIns="288000" tIns="144000" rIns="432000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94FE7-F6B5-D34D-B846-52B81F6F601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B51A1E-902D-48AF-9020-955120F399B6}" type="slidenum">
              <a:rPr lang="en-ZA" smtClean="0"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 lang="en-ZA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89E631-FFE0-4842-9C8D-2977AD46DA07}"/>
              </a:ext>
            </a:extLst>
          </p:cNvPr>
          <p:cNvSpPr txBox="1"/>
          <p:nvPr userDrawn="1"/>
        </p:nvSpPr>
        <p:spPr>
          <a:xfrm>
            <a:off x="5861957" y="661307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200" dirty="0">
              <a:solidFill>
                <a:srgbClr val="4D3E2F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4000" y="86714"/>
            <a:ext cx="6009285" cy="3431187"/>
          </a:xfrm>
          <a:solidFill>
            <a:srgbClr val="333333"/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solidFill>
                  <a:schemeClr val="bg1">
                    <a:lumMod val="8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ZA" dirty="0"/>
              <a:t>Insert or Drag and Drop Image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D5F0C9D-A08F-4539-BA26-61D24BBE6E9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464300" y="1152000"/>
            <a:ext cx="5307700" cy="4680000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345231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14096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04843" y="5944195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6 August 2019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99856" y="5944195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12555" y="5944195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" y="3703753"/>
            <a:ext cx="2783632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783633" y="3724723"/>
            <a:ext cx="2232247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015881" y="3703753"/>
            <a:ext cx="2141091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156971" y="3703753"/>
            <a:ext cx="2035373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9192344" y="3721527"/>
            <a:ext cx="2999656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70197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5399" y="180976"/>
            <a:ext cx="10873209" cy="559256"/>
          </a:xfrm>
        </p:spPr>
        <p:txBody>
          <a:bodyPr wrap="none">
            <a:noAutofit/>
          </a:bodyPr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1C05B66C-8BBC-4727-B35B-1A99CC565EDC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398" y="1174643"/>
            <a:ext cx="10873209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8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871337" y="6468150"/>
            <a:ext cx="2977191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900" dirty="0">
                <a:solidFill>
                  <a:srgbClr val="998F86"/>
                </a:solidFill>
              </a:rPr>
              <a:t>Bergrivier Municipality: 4th Generation IDP Support</a:t>
            </a:r>
            <a:endParaRPr lang="en-GB" sz="900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682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196753"/>
            <a:ext cx="5184575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196753"/>
            <a:ext cx="5222370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Isosceles Triangle 7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0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40033"/>
            <a:ext cx="10873208" cy="528708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6" name="Isosceles Triangle 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22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40033"/>
            <a:ext cx="10873208" cy="528708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6" name="Isosceles Triangle 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30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2777"/>
            <a:ext cx="10873208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0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38996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38996" cy="228781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0571"/>
            <a:ext cx="5184575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410571"/>
            <a:ext cx="5222370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Isosceles Triangle 1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74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00789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9985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10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400" y="5681849"/>
            <a:ext cx="10873208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5400" y="1196752"/>
            <a:ext cx="10873208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Isosceles Triangle 9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03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73209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399" y="1196752"/>
            <a:ext cx="5112569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126235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41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3" y="5681849"/>
            <a:ext cx="1101722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Isosceles Triangle 8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43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95399" y="1412777"/>
            <a:ext cx="10838996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09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 and Footn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302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67409" y="1196752"/>
            <a:ext cx="10585175" cy="36004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</p:spTree>
    <p:extLst>
      <p:ext uri="{BB962C8B-B14F-4D97-AF65-F5344CB8AC3E}">
        <p14:creationId xmlns:p14="http://schemas.microsoft.com/office/powerpoint/2010/main" val="3157338796"/>
      </p:ext>
    </p:extLst>
  </p:cSld>
  <p:clrMapOvr>
    <a:masterClrMapping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5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46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2777"/>
            <a:ext cx="10873208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143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04512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54110" y="1412774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95399" y="1412775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42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56040" y="1412776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3532181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59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4263468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21827" y="4263468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1562397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41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398" y="3645024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3645024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206971" y="3645024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5399" y="141277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49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74860" y="1412776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70007" y="1412776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186433" y="1412776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74861" y="393305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52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95400" y="2975180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5400" y="4537584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30" y="1412776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89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19897" y="1432991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7919897" y="2995395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919897" y="4557799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4446" y="1427497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89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50077" y="476672"/>
            <a:ext cx="20954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</a:rPr>
              <a:t>Contact Us</a:t>
            </a:r>
            <a:endParaRPr lang="en-GB" sz="2400" b="1" dirty="0">
              <a:solidFill>
                <a:prstClr val="white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vironmental Affairs and Development Planning\WCG - Logo - Environmental Affairs and Development Planning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4903" y="1923155"/>
            <a:ext cx="3214464" cy="679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7927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  <a:cs typeface="Arabic Typesetting" panose="03020402040406030203" pitchFamily="66" charset="-78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3440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571" y="266817"/>
            <a:ext cx="5481463" cy="176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ight Triangle 2"/>
          <p:cNvSpPr/>
          <p:nvPr userDrawn="1"/>
        </p:nvSpPr>
        <p:spPr>
          <a:xfrm flipH="1">
            <a:off x="2063552" y="2708920"/>
            <a:ext cx="10128448" cy="216024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053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38996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38996" cy="228781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0571"/>
            <a:ext cx="5184575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410571"/>
            <a:ext cx="5222370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Isosceles Triangle 1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19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50287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752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3973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52853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3233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3153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51437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86559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018698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67679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00789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9985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96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8582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26311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6171" y="6026976"/>
            <a:ext cx="1837381" cy="590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Triangle 8"/>
          <p:cNvSpPr/>
          <p:nvPr userDrawn="1"/>
        </p:nvSpPr>
        <p:spPr>
          <a:xfrm flipH="1">
            <a:off x="911424" y="5589240"/>
            <a:ext cx="11280576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0319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05694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33408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78313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34311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141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0832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9327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400" y="5681849"/>
            <a:ext cx="10873208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5400" y="1196752"/>
            <a:ext cx="10873208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Isosceles Triangle 9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9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066900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17424" y="1902194"/>
            <a:ext cx="2510491" cy="806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17508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2063552" y="3284985"/>
            <a:ext cx="10128448" cy="10247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3488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14096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04843" y="5944195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99856" y="5944195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12555" y="5944195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" y="3703753"/>
            <a:ext cx="2783632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783633" y="3724723"/>
            <a:ext cx="2232247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015881" y="3703753"/>
            <a:ext cx="2141091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156971" y="3703753"/>
            <a:ext cx="2035373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9192344" y="3721527"/>
            <a:ext cx="2999656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17425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5399" y="180976"/>
            <a:ext cx="10873209" cy="559256"/>
          </a:xfrm>
        </p:spPr>
        <p:txBody>
          <a:bodyPr wrap="none">
            <a:noAutofit/>
          </a:bodyPr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1C05B66C-8BBC-4727-B35B-1A99CC565EDC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398" y="1174643"/>
            <a:ext cx="10873209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8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871337" y="6468150"/>
            <a:ext cx="2977191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900" dirty="0">
                <a:solidFill>
                  <a:srgbClr val="998F86"/>
                </a:solidFill>
              </a:rPr>
              <a:t>Bergrivier Municipality: 4th Generation IDP Support</a:t>
            </a:r>
            <a:endParaRPr lang="en-GB" sz="900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74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196753"/>
            <a:ext cx="5184575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196753"/>
            <a:ext cx="5222370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Isosceles Triangle 7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20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40033"/>
            <a:ext cx="10873208" cy="528708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6" name="Isosceles Triangle 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51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2777"/>
            <a:ext cx="10873208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08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38996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38996" cy="228781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0571"/>
            <a:ext cx="5184575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410571"/>
            <a:ext cx="5222370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Isosceles Triangle 1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5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00789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9985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647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73209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399" y="1196752"/>
            <a:ext cx="5112569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126235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19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400" y="5681849"/>
            <a:ext cx="10873208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5400" y="1196752"/>
            <a:ext cx="10873208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Isosceles Triangle 9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85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73209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399" y="1196752"/>
            <a:ext cx="5112569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126235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119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3" y="5681849"/>
            <a:ext cx="1101722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Isosceles Triangle 8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0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95399" y="1412777"/>
            <a:ext cx="10838996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9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38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67409" y="1196752"/>
            <a:ext cx="10585175" cy="36004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</p:spTree>
    <p:extLst>
      <p:ext uri="{BB962C8B-B14F-4D97-AF65-F5344CB8AC3E}">
        <p14:creationId xmlns:p14="http://schemas.microsoft.com/office/powerpoint/2010/main" val="264018655"/>
      </p:ext>
    </p:extLst>
  </p:cSld>
  <p:clrMapOvr>
    <a:masterClrMapping/>
  </p:clrMapOvr>
  <p:transition spd="slow">
    <p:push dir="u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5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26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04512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54110" y="1412774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95399" y="1412775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56040" y="1412776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3532181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35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4263468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21827" y="4263468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1562397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9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tags" Target="../tags/tag45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vmlDrawing" Target="../drawings/vmlDrawing2.v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tags" Target="../tags/tag48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heme" Target="../theme/theme3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tags" Target="../tags/tag47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tags" Target="../tags/tag46.xml"/><Relationship Id="rId30" Type="http://schemas.openxmlformats.org/officeDocument/2006/relationships/tags" Target="../tags/tag49.xml"/><Relationship Id="rId8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theme" Target="../theme/theme4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tags" Target="../tags/tag91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tags" Target="../tags/tag94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tags" Target="../tags/tag90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ags" Target="../tags/tag93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tags" Target="../tags/tag89.xml"/><Relationship Id="rId30" Type="http://schemas.openxmlformats.org/officeDocument/2006/relationships/tags" Target="../tags/tag92.xml"/><Relationship Id="rId35" Type="http://schemas.openxmlformats.org/officeDocument/2006/relationships/image" Target="../media/image12.png"/><Relationship Id="rId8" Type="http://schemas.openxmlformats.org/officeDocument/2006/relationships/slideLayout" Target="../slideLayouts/slideLayout6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26" Type="http://schemas.openxmlformats.org/officeDocument/2006/relationships/tags" Target="../tags/tag136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vmlDrawing" Target="../drawings/vmlDrawing4.v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heme" Target="../theme/theme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tags" Target="../tags/tag138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tags" Target="../tags/tag137.xml"/><Relationship Id="rId30" Type="http://schemas.openxmlformats.org/officeDocument/2006/relationships/tags" Target="../tags/tag140.xml"/><Relationship Id="rId8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623392" y="180976"/>
            <a:ext cx="10945216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623392" y="1196752"/>
            <a:ext cx="10945216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pic>
        <p:nvPicPr>
          <p:cNvPr id="12" name="Picture 115" descr="C:\Users\Conny\Desktop\WCG\WCG - Logo\PNG\Logos blue\Evironmental Affairs and Development Planning\WCG - Logo - Environmental Affairs and Development Planning - Blue.png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05" y="6260385"/>
            <a:ext cx="1401205" cy="438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sosceles Triangle 3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8105842" y="6468150"/>
            <a:ext cx="276116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dirty="0">
                <a:solidFill>
                  <a:srgbClr val="998F86"/>
                </a:solidFill>
              </a:rPr>
              <a:t>Bergrivier Municipality: 4th Generation IDP Suppor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401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629400"/>
            <a:ext cx="1499616" cy="228600"/>
          </a:xfrm>
          <a:prstGeom prst="rect">
            <a:avLst/>
          </a:prstGeom>
          <a:gradFill>
            <a:gsLst>
              <a:gs pos="0">
                <a:schemeClr val="accent1">
                  <a:lumMod val="15000"/>
                  <a:lumOff val="85000"/>
                </a:schemeClr>
              </a:gs>
              <a:gs pos="100000">
                <a:schemeClr val="accent1">
                  <a:lumMod val="15000"/>
                  <a:lumOff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609344" y="6629400"/>
            <a:ext cx="10582656" cy="228600"/>
          </a:xfrm>
          <a:prstGeom prst="rect">
            <a:avLst/>
          </a:prstGeom>
          <a:gradFill>
            <a:gsLst>
              <a:gs pos="0">
                <a:schemeClr val="accent1">
                  <a:lumMod val="35000"/>
                  <a:lumOff val="65000"/>
                </a:schemeClr>
              </a:gs>
              <a:gs pos="100000">
                <a:schemeClr val="accent1">
                  <a:lumMod val="35000"/>
                  <a:lumOff val="6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rgbClr val="8BAA00">
                  <a:lumMod val="75000"/>
                </a:srgb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10026" y="276087"/>
            <a:ext cx="9371949" cy="11835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10027" y="1566001"/>
            <a:ext cx="9371948" cy="46206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</a:t>
            </a:r>
            <a:r>
              <a:rPr dirty="0"/>
              <a:t>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29400"/>
            <a:ext cx="410402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CD8D479-8942-46E8-A226-A4E01F7A105C}" type="slidenum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3403" y="6629400"/>
            <a:ext cx="1000662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F04751E-ADD3-4E17-8C46-57CF87DB4D1C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4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7716" y="6629400"/>
            <a:ext cx="9144259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56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3400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10312" indent="-210312" algn="l" defTabSz="914400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38912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766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52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338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3624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5910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196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482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623392" y="180976"/>
            <a:ext cx="10945216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623392" y="1196752"/>
            <a:ext cx="10945216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pic>
        <p:nvPicPr>
          <p:cNvPr id="12" name="Picture 115" descr="C:\Users\Conny\Desktop\WCG\WCG - Logo\PNG\Logos blue\Evironmental Affairs and Development Planning\WCG - Logo - Environmental Affairs and Development Planning - Blue.png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05" y="6260385"/>
            <a:ext cx="1401205" cy="438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sosceles Triangle 3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8105842" y="6468150"/>
            <a:ext cx="276116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dirty="0">
                <a:solidFill>
                  <a:srgbClr val="998F86"/>
                </a:solidFill>
              </a:rPr>
              <a:t>Bergrivier Municipality: 4th Generation IDP Suppor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031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349" y="6149079"/>
            <a:ext cx="1285816" cy="413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ight Triangle 11"/>
          <p:cNvSpPr/>
          <p:nvPr userDrawn="1"/>
        </p:nvSpPr>
        <p:spPr>
          <a:xfrm flipH="1">
            <a:off x="393694" y="836712"/>
            <a:ext cx="11798300" cy="144016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228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50000">
              <a:schemeClr val="bg1">
                <a:tint val="80000"/>
                <a:satMod val="250000"/>
              </a:schemeClr>
            </a:gs>
            <a:gs pos="76000">
              <a:schemeClr val="bg1">
                <a:tint val="90000"/>
                <a:shade val="90000"/>
                <a:satMod val="200000"/>
              </a:schemeClr>
            </a:gs>
            <a:gs pos="92000">
              <a:schemeClr val="bg1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623392" y="180976"/>
            <a:ext cx="10945216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623392" y="1196752"/>
            <a:ext cx="10945216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pic>
        <p:nvPicPr>
          <p:cNvPr id="12" name="Picture 115" descr="C:\Users\Conny\Desktop\WCG\WCG - Logo\PNG\Logos blue\Evironmental Affairs and Development Planning\WCG - Logo - Environmental Affairs and Development Planning - Blue.png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05" y="6260385"/>
            <a:ext cx="1401205" cy="438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sosceles Triangle 3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8105842" y="6468150"/>
            <a:ext cx="276116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dirty="0">
                <a:solidFill>
                  <a:srgbClr val="998F86"/>
                </a:solidFill>
              </a:rPr>
              <a:t>Bergrivier Municipality: 4th Generation IDP Suppor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71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0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10" Type="http://schemas.microsoft.com/office/2007/relationships/hdphoto" Target="../media/hdphoto1.wdp"/><Relationship Id="rId4" Type="http://schemas.openxmlformats.org/officeDocument/2006/relationships/image" Target="../media/image16.jpg"/><Relationship Id="rId9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9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4.xml"/><Relationship Id="rId4" Type="http://schemas.openxmlformats.org/officeDocument/2006/relationships/image" Target="../media/image2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5.xml"/><Relationship Id="rId4" Type="http://schemas.openxmlformats.org/officeDocument/2006/relationships/image" Target="../media/image2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6.xml"/><Relationship Id="rId4" Type="http://schemas.openxmlformats.org/officeDocument/2006/relationships/image" Target="../media/image25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197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jpg"/><Relationship Id="rId9" Type="http://schemas.openxmlformats.org/officeDocument/2006/relationships/image" Target="../media/image2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1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10" Type="http://schemas.microsoft.com/office/2007/relationships/hdphoto" Target="../media/hdphoto1.wdp"/><Relationship Id="rId4" Type="http://schemas.openxmlformats.org/officeDocument/2006/relationships/image" Target="../media/image16.jpg"/><Relationship Id="rId9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mailto:sb@bergmun.org.za" TargetMode="Externa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182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jpg"/><Relationship Id="rId9" Type="http://schemas.openxmlformats.org/officeDocument/2006/relationships/image" Target="../media/image2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3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5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7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322887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85969" y="5322888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91100" y="5325901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132637" y="5326063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664" y="5326063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0" y="-245131"/>
            <a:ext cx="11953328" cy="4894559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BERGRIVIER MUNISIPALITEIT</a:t>
            </a:r>
          </a:p>
          <a:p>
            <a:pPr algn="ctr"/>
            <a:r>
              <a:rPr lang="en-GB" sz="3600" b="1" dirty="0">
                <a:solidFill>
                  <a:prstClr val="white"/>
                </a:solidFill>
              </a:rPr>
              <a:t>UITVOERENDE BURGEMEESTERSKOMITEE</a:t>
            </a:r>
          </a:p>
          <a:p>
            <a:pPr algn="ctr"/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PIKETBERG – WYK 3 (</a:t>
            </a:r>
            <a:r>
              <a:rPr lang="en-GB" sz="3600" b="1" dirty="0">
                <a:solidFill>
                  <a:prstClr val="white"/>
                </a:solidFill>
              </a:rPr>
              <a:t>13 APRIL 2022)</a:t>
            </a:r>
          </a:p>
          <a:p>
            <a:pPr marL="1028700" lvl="1" indent="-571500" algn="l">
              <a:buFont typeface="Arial" panose="020B0604020202020204" pitchFamily="34" charset="0"/>
              <a:buChar char="•"/>
            </a:pPr>
            <a:endParaRPr lang="en-GB" sz="4000" b="1" dirty="0">
              <a:solidFill>
                <a:prstClr val="white"/>
              </a:solidFill>
            </a:endParaRPr>
          </a:p>
          <a:p>
            <a:pPr algn="ctr"/>
            <a:endParaRPr lang="en-GB" sz="3600" b="1" dirty="0">
              <a:solidFill>
                <a:prstClr val="white"/>
              </a:solidFill>
            </a:endParaRPr>
          </a:p>
          <a:p>
            <a:pPr algn="ctr"/>
            <a:endParaRPr lang="en-GB" sz="3600" b="1" dirty="0">
              <a:solidFill>
                <a:prstClr val="white"/>
              </a:solidFill>
            </a:endParaRPr>
          </a:p>
          <a:p>
            <a:pPr algn="ctr"/>
            <a:endParaRPr lang="en-ZA" sz="3600" b="1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08" b="100000" l="0" r="100000">
                        <a14:foregroundMark x1="48502" y1="27494" x2="48502" y2="27494"/>
                        <a14:foregroundMark x1="55920" y1="25172" x2="55920" y2="25172"/>
                        <a14:foregroundMark x1="50689" y1="17156" x2="50689" y2="17156"/>
                        <a14:foregroundMark x1="44983" y1="34168" x2="44983" y2="34168"/>
                        <a14:foregroundMark x1="46315" y1="44505" x2="46315" y2="44505"/>
                        <a14:foregroundMark x1="49786" y1="45847" x2="49786" y2="45847"/>
                        <a14:foregroundMark x1="32335" y1="53500" x2="32335" y2="53500"/>
                        <a14:foregroundMark x1="66381" y1="50490" x2="66381" y2="50490"/>
                        <a14:foregroundMark x1="78650" y1="79507" x2="78650" y2="79507"/>
                        <a14:foregroundMark x1="72515" y1="89518" x2="71232" y2="89844"/>
                        <a14:foregroundMark x1="46315" y1="93834" x2="46315" y2="93834"/>
                        <a14:foregroundMark x1="30147" y1="90497" x2="30147" y2="90497"/>
                        <a14:foregroundMark x1="22254" y1="80486" x2="22254" y2="80486"/>
                        <a14:foregroundMark x1="6990" y1="63838" x2="6990" y2="63838"/>
                        <a14:foregroundMark x1="20067" y1="80160" x2="20067" y2="80160"/>
                        <a14:foregroundMark x1="6990" y1="41821" x2="6990" y2="41821"/>
                        <a14:foregroundMark x1="92630" y1="42184" x2="92630" y2="42184"/>
                        <a14:foregroundMark x1="91774" y1="63838" x2="91774" y2="63838"/>
                        <a14:foregroundMark x1="83452" y1="83497" x2="83452" y2="83497"/>
                        <a14:foregroundMark x1="19211" y1="85165" x2="19211" y2="85165"/>
                        <a14:foregroundMark x1="55920" y1="34820" x2="55920" y2="348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146" y="170328"/>
            <a:ext cx="1295854" cy="1694331"/>
          </a:xfrm>
          <a:prstGeom prst="rect">
            <a:avLst/>
          </a:prstGeom>
        </p:spPr>
      </p:pic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096F5E46-A401-44F0-A9D1-DB68B87057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9143241"/>
              </p:ext>
            </p:extLst>
          </p:nvPr>
        </p:nvGraphicFramePr>
        <p:xfrm>
          <a:off x="79710" y="1934903"/>
          <a:ext cx="12032580" cy="328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49738">
                  <a:extLst>
                    <a:ext uri="{9D8B030D-6E8A-4147-A177-3AD203B41FA5}">
                      <a16:colId xmlns:a16="http://schemas.microsoft.com/office/drawing/2014/main" val="3334421973"/>
                    </a:ext>
                  </a:extLst>
                </a:gridCol>
                <a:gridCol w="5482842">
                  <a:extLst>
                    <a:ext uri="{9D8B030D-6E8A-4147-A177-3AD203B41FA5}">
                      <a16:colId xmlns:a16="http://schemas.microsoft.com/office/drawing/2014/main" val="1884863913"/>
                    </a:ext>
                  </a:extLst>
                </a:gridCol>
              </a:tblGrid>
              <a:tr h="492264">
                <a:tc>
                  <a:txBody>
                    <a:bodyPr/>
                    <a:lstStyle/>
                    <a:p>
                      <a:r>
                        <a:rPr lang="en-ZA" sz="2400" b="0" dirty="0">
                          <a:solidFill>
                            <a:schemeClr val="tx1"/>
                          </a:solidFill>
                        </a:rPr>
                        <a:t>Opening </a:t>
                      </a:r>
                      <a:r>
                        <a:rPr lang="en-ZA" sz="2400" b="0" dirty="0" err="1">
                          <a:solidFill>
                            <a:schemeClr val="tx1"/>
                          </a:solidFill>
                        </a:rPr>
                        <a:t>en</a:t>
                      </a:r>
                      <a:r>
                        <a:rPr lang="en-ZA" sz="2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2400" b="0" dirty="0" err="1">
                          <a:solidFill>
                            <a:schemeClr val="tx1"/>
                          </a:solidFill>
                        </a:rPr>
                        <a:t>Verwelkoming</a:t>
                      </a:r>
                      <a:endParaRPr lang="en-ZA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b="0" dirty="0" err="1">
                          <a:solidFill>
                            <a:schemeClr val="tx1"/>
                          </a:solidFill>
                        </a:rPr>
                        <a:t>Wyksraadslid</a:t>
                      </a:r>
                      <a:endParaRPr lang="en-ZA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514830"/>
                  </a:ext>
                </a:extLst>
              </a:tr>
              <a:tr h="768204">
                <a:tc>
                  <a:txBody>
                    <a:bodyPr/>
                    <a:lstStyle/>
                    <a:p>
                      <a:r>
                        <a:rPr lang="en-ZA" sz="2400" dirty="0" err="1"/>
                        <a:t>Bekendstelling</a:t>
                      </a:r>
                      <a:r>
                        <a:rPr lang="en-ZA" sz="2400" dirty="0"/>
                        <a:t>:  </a:t>
                      </a:r>
                      <a:r>
                        <a:rPr lang="en-ZA" sz="2400" dirty="0" err="1"/>
                        <a:t>Burgemeesterskomitee</a:t>
                      </a:r>
                      <a:r>
                        <a:rPr lang="en-ZA" sz="2400" dirty="0"/>
                        <a:t> &amp; </a:t>
                      </a:r>
                      <a:r>
                        <a:rPr lang="en-ZA" sz="2400" dirty="0" err="1"/>
                        <a:t>Direksie</a:t>
                      </a:r>
                      <a:endParaRPr lang="en-Z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/>
                        <a:t>Speaker </a:t>
                      </a:r>
                      <a:r>
                        <a:rPr lang="en-ZA" sz="2400" dirty="0" err="1"/>
                        <a:t>Raadsheer</a:t>
                      </a:r>
                      <a:r>
                        <a:rPr lang="en-ZA" sz="2400" dirty="0"/>
                        <a:t> Swa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821462"/>
                  </a:ext>
                </a:extLst>
              </a:tr>
              <a:tr h="492264">
                <a:tc>
                  <a:txBody>
                    <a:bodyPr/>
                    <a:lstStyle/>
                    <a:p>
                      <a:r>
                        <a:rPr lang="en-ZA" sz="2400" dirty="0" err="1"/>
                        <a:t>Oorsig</a:t>
                      </a:r>
                      <a:r>
                        <a:rPr lang="en-ZA" sz="2400" dirty="0"/>
                        <a:t> van </a:t>
                      </a:r>
                      <a:r>
                        <a:rPr lang="en-ZA" sz="2400" dirty="0" err="1"/>
                        <a:t>Begroting</a:t>
                      </a:r>
                      <a:endParaRPr lang="en-Z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 err="1"/>
                        <a:t>Direkteur</a:t>
                      </a:r>
                      <a:r>
                        <a:rPr lang="en-ZA" sz="2400" dirty="0"/>
                        <a:t>: </a:t>
                      </a:r>
                      <a:r>
                        <a:rPr lang="en-ZA" sz="2400" dirty="0" err="1"/>
                        <a:t>Finansies</a:t>
                      </a:r>
                      <a:endParaRPr lang="en-ZA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0954528"/>
                  </a:ext>
                </a:extLst>
              </a:tr>
              <a:tr h="492264">
                <a:tc>
                  <a:txBody>
                    <a:bodyPr/>
                    <a:lstStyle/>
                    <a:p>
                      <a:r>
                        <a:rPr lang="en-ZA" sz="2400" dirty="0" err="1"/>
                        <a:t>Behoeftes</a:t>
                      </a:r>
                      <a:r>
                        <a:rPr lang="en-ZA" sz="2400" dirty="0"/>
                        <a:t> van Wyk 4 </a:t>
                      </a:r>
                      <a:r>
                        <a:rPr lang="en-ZA" sz="2400" dirty="0" err="1"/>
                        <a:t>uit</a:t>
                      </a:r>
                      <a:r>
                        <a:rPr lang="en-ZA" sz="2400" dirty="0"/>
                        <a:t> GOP (ID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/>
                        <a:t>Munisipale </a:t>
                      </a:r>
                      <a:r>
                        <a:rPr lang="en-ZA" sz="2400" dirty="0" err="1"/>
                        <a:t>Bestuurder</a:t>
                      </a:r>
                      <a:endParaRPr lang="en-ZA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1479462"/>
                  </a:ext>
                </a:extLst>
              </a:tr>
              <a:tr h="492264">
                <a:tc>
                  <a:txBody>
                    <a:bodyPr/>
                    <a:lstStyle/>
                    <a:p>
                      <a:r>
                        <a:rPr lang="en-ZA" sz="2400" dirty="0" err="1"/>
                        <a:t>Vrae</a:t>
                      </a:r>
                      <a:r>
                        <a:rPr lang="en-ZA" sz="2400" dirty="0"/>
                        <a:t> </a:t>
                      </a:r>
                      <a:r>
                        <a:rPr lang="en-ZA" sz="2400" dirty="0" err="1"/>
                        <a:t>en</a:t>
                      </a:r>
                      <a:r>
                        <a:rPr lang="en-ZA" sz="2400" dirty="0"/>
                        <a:t> </a:t>
                      </a:r>
                      <a:r>
                        <a:rPr lang="en-ZA" sz="2400" dirty="0" err="1"/>
                        <a:t>insette</a:t>
                      </a:r>
                      <a:r>
                        <a:rPr lang="en-ZA" sz="2400" dirty="0"/>
                        <a:t> </a:t>
                      </a:r>
                      <a:r>
                        <a:rPr lang="en-ZA" sz="2400" dirty="0" err="1"/>
                        <a:t>deur</a:t>
                      </a:r>
                      <a:r>
                        <a:rPr lang="en-ZA" sz="2400" dirty="0"/>
                        <a:t> </a:t>
                      </a:r>
                      <a:r>
                        <a:rPr lang="en-ZA" sz="2400" dirty="0" err="1"/>
                        <a:t>publiek</a:t>
                      </a:r>
                      <a:endParaRPr lang="en-Z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/>
                        <a:t>Speaker </a:t>
                      </a:r>
                      <a:r>
                        <a:rPr lang="en-ZA" sz="2400" dirty="0" err="1"/>
                        <a:t>Raadsheer</a:t>
                      </a:r>
                      <a:r>
                        <a:rPr lang="en-ZA" sz="2400" dirty="0"/>
                        <a:t> Swa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8350075"/>
                  </a:ext>
                </a:extLst>
              </a:tr>
              <a:tr h="492264">
                <a:tc>
                  <a:txBody>
                    <a:bodyPr/>
                    <a:lstStyle/>
                    <a:p>
                      <a:r>
                        <a:rPr lang="en-ZA" sz="2400" dirty="0" err="1"/>
                        <a:t>Afsluiting</a:t>
                      </a:r>
                      <a:endParaRPr lang="en-Z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 err="1"/>
                        <a:t>Burgemeester</a:t>
                      </a:r>
                      <a:r>
                        <a:rPr lang="en-ZA" sz="2400" dirty="0"/>
                        <a:t>/</a:t>
                      </a:r>
                      <a:r>
                        <a:rPr lang="en-ZA" sz="2400" dirty="0" err="1"/>
                        <a:t>Onderburgemeester</a:t>
                      </a:r>
                      <a:endParaRPr lang="en-ZA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344198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87549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935624E-D878-4CA6-A7A5-EEE1467710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5832232"/>
              </p:ext>
            </p:extLst>
          </p:nvPr>
        </p:nvGraphicFramePr>
        <p:xfrm>
          <a:off x="238672" y="652146"/>
          <a:ext cx="11714655" cy="5977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4">
            <a:extLst>
              <a:ext uri="{FF2B5EF4-FFF2-40B4-BE49-F238E27FC236}">
                <a16:creationId xmlns:a16="http://schemas.microsoft.com/office/drawing/2014/main" id="{38702401-A8A1-4566-AD91-FAE7F37D13E0}"/>
              </a:ext>
            </a:extLst>
          </p:cNvPr>
          <p:cNvSpPr txBox="1">
            <a:spLocks/>
          </p:cNvSpPr>
          <p:nvPr/>
        </p:nvSpPr>
        <p:spPr>
          <a:xfrm>
            <a:off x="744279" y="136307"/>
            <a:ext cx="10430539" cy="437851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OTALE INKOMSTE R  494,861,665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6717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8662440-CCD5-4F30-AEFE-556DCBA57E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3230687"/>
              </p:ext>
            </p:extLst>
          </p:nvPr>
        </p:nvGraphicFramePr>
        <p:xfrm>
          <a:off x="929005" y="198120"/>
          <a:ext cx="10333989" cy="646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52844">
                  <a:extLst>
                    <a:ext uri="{9D8B030D-6E8A-4147-A177-3AD203B41FA5}">
                      <a16:colId xmlns:a16="http://schemas.microsoft.com/office/drawing/2014/main" val="1288111138"/>
                    </a:ext>
                  </a:extLst>
                </a:gridCol>
                <a:gridCol w="2172105">
                  <a:extLst>
                    <a:ext uri="{9D8B030D-6E8A-4147-A177-3AD203B41FA5}">
                      <a16:colId xmlns:a16="http://schemas.microsoft.com/office/drawing/2014/main" val="2720098876"/>
                    </a:ext>
                  </a:extLst>
                </a:gridCol>
                <a:gridCol w="1509040">
                  <a:extLst>
                    <a:ext uri="{9D8B030D-6E8A-4147-A177-3AD203B41FA5}">
                      <a16:colId xmlns:a16="http://schemas.microsoft.com/office/drawing/2014/main" val="1885895160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EDRYFSBEGROTING: TOTALE INKOMSTE </a:t>
                      </a:r>
                      <a:r>
                        <a:rPr kumimoji="0" lang="en-ZA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+mn-ea"/>
                          <a:cs typeface="+mn-cs"/>
                        </a:rPr>
                        <a:t>: R  494,861,665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A3A70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83996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heffing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1 051 5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.5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88697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iendomsbelast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 674 9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9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180234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ordrag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ubsidies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rasioneel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1 237 4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4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32843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heffing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wa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 807 1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4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25594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heffing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ullisverwyder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 447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5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200254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ete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esla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ysgaw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 286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90177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heffing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oler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 70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5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6288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ordrag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ubsidies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itaal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 110 5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2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2494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er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koms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 02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8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2112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ntskapdiens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788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7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1011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n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–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itstaand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biteur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00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1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8015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uur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n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silitei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erust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674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44392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ensie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mit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822566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0803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8662440-CCD5-4F30-AEFE-556DCBA57E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6940089"/>
              </p:ext>
            </p:extLst>
          </p:nvPr>
        </p:nvGraphicFramePr>
        <p:xfrm>
          <a:off x="535459" y="180976"/>
          <a:ext cx="10569146" cy="61418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67738">
                  <a:extLst>
                    <a:ext uri="{9D8B030D-6E8A-4147-A177-3AD203B41FA5}">
                      <a16:colId xmlns:a16="http://schemas.microsoft.com/office/drawing/2014/main" val="1288111138"/>
                    </a:ext>
                  </a:extLst>
                </a:gridCol>
                <a:gridCol w="2601408">
                  <a:extLst>
                    <a:ext uri="{9D8B030D-6E8A-4147-A177-3AD203B41FA5}">
                      <a16:colId xmlns:a16="http://schemas.microsoft.com/office/drawing/2014/main" val="2720098876"/>
                    </a:ext>
                  </a:extLst>
                </a:gridCol>
              </a:tblGrid>
              <a:tr h="46995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OORGESTELDE TARIEFVERHOGINGS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A3A70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839967"/>
                  </a:ext>
                </a:extLst>
              </a:tr>
              <a:tr h="550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1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iendomsbelasting</a:t>
                      </a:r>
                      <a:endParaRPr lang="en-ZA" sz="2800" b="1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98869712"/>
                  </a:ext>
                </a:extLst>
              </a:tr>
              <a:tr h="550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1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81802343"/>
                  </a:ext>
                </a:extLst>
              </a:tr>
              <a:tr h="550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bruiksheffings</a:t>
                      </a:r>
                      <a:endParaRPr lang="en-ZA" sz="2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5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3284372"/>
                  </a:ext>
                </a:extLst>
              </a:tr>
              <a:tr h="550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iese</a:t>
                      </a: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ffings</a:t>
                      </a:r>
                      <a:endParaRPr lang="en-ZA" sz="2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5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62559454"/>
                  </a:ext>
                </a:extLst>
              </a:tr>
              <a:tr h="6296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2800" b="1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42002542"/>
                  </a:ext>
                </a:extLst>
              </a:tr>
              <a:tr h="550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bruiksheffings</a:t>
                      </a:r>
                      <a:endParaRPr lang="en-ZA" sz="2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4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09017787"/>
                  </a:ext>
                </a:extLst>
              </a:tr>
              <a:tr h="550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iese</a:t>
                      </a: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ffings</a:t>
                      </a:r>
                      <a:endParaRPr lang="en-ZA" sz="2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4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06288341"/>
                  </a:ext>
                </a:extLst>
              </a:tr>
              <a:tr h="550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1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olering</a:t>
                      </a:r>
                      <a:endParaRPr lang="en-ZA" sz="2800" b="1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1249404"/>
                  </a:ext>
                </a:extLst>
              </a:tr>
              <a:tr h="550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1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ullisverwydering</a:t>
                      </a:r>
                      <a:endParaRPr lang="en-ZA" sz="2800" b="1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32112332"/>
                  </a:ext>
                </a:extLst>
              </a:tr>
              <a:tr h="550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Diverse </a:t>
                      </a: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riewe</a:t>
                      </a: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7% – 1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5210116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2019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82B3C7-AE4E-4ABF-8C40-6CEF1F54F695}"/>
              </a:ext>
            </a:extLst>
          </p:cNvPr>
          <p:cNvSpPr txBox="1"/>
          <p:nvPr/>
        </p:nvSpPr>
        <p:spPr>
          <a:xfrm>
            <a:off x="238672" y="363915"/>
            <a:ext cx="11714656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ES VIR TARIEFVERHOGING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rklik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enslewer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ë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komst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u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iew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gevorde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ig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hoging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o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den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“lockdown”, maar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et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groei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voorbeeld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andstof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lariss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erial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derdel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seker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rmal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kalasi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ensleweringskontrakt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ullisverwyder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oot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t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anhoudend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mmelstrooi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wettig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ort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al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wek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kuriteit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eens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ndalism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op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rastruktuu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ens.  (R2.6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ljo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kstra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estand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terinfrastruktuu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et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va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ord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nsierings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et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haal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or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5600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E8F7B616-1D71-4077-8DA7-B2356679A5A0}"/>
              </a:ext>
            </a:extLst>
          </p:cNvPr>
          <p:cNvSpPr txBox="1">
            <a:spLocks/>
          </p:cNvSpPr>
          <p:nvPr/>
        </p:nvSpPr>
        <p:spPr>
          <a:xfrm>
            <a:off x="-57700" y="814868"/>
            <a:ext cx="3810000" cy="1306099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EERNISHULP 2022/2023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8EE6EF3-4F49-4E48-A130-DFD8F89ABB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5580766"/>
              </p:ext>
            </p:extLst>
          </p:nvPr>
        </p:nvGraphicFramePr>
        <p:xfrm>
          <a:off x="3533776" y="99735"/>
          <a:ext cx="8477252" cy="3157814"/>
        </p:xfrm>
        <a:graphic>
          <a:graphicData uri="http://schemas.openxmlformats.org/drawingml/2006/table">
            <a:tbl>
              <a:tblPr/>
              <a:tblGrid>
                <a:gridCol w="57757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15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453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1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 MAA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628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iendomsbelasting algemene vrystell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 15,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verbruik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and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K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5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 Basies per maan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ati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bruik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and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wh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nl-NL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olering 100% korting op huishoudelike tarief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 208.00 (BTW Ing.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ullisverwydering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00%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rting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 319.70 (BTW Ing.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9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 fontAlgn="auto"/>
                      <a:r>
                        <a:rPr lang="nl-NL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ernis huishouding op lewensondersteunende toerust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 Kw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iese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sheffing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ati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iendomsbelasting Pensioenaris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%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rting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FB7BF6C-2077-4364-B40E-2194A7BADD8B}"/>
              </a:ext>
            </a:extLst>
          </p:cNvPr>
          <p:cNvSpPr/>
          <p:nvPr/>
        </p:nvSpPr>
        <p:spPr>
          <a:xfrm>
            <a:off x="57700" y="3295649"/>
            <a:ext cx="11953328" cy="3877985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erni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ubsidies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sioenariskortings</a:t>
            </a:r>
            <a:endParaRPr kumimoji="0" lang="en-ZA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ig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enaa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sioenari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ënt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at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walifisee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erni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f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e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rting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et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nsoek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en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p 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orgeskrew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rm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at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kry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ord by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aslik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nisipal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tor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durend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toorur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ing ID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ument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kant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d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ook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nder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n alle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woner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p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endom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wy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re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ast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nisipal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enin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wy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goedin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ëdigd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klarin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en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rkloo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dersteunin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u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nsoek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idies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kreditee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ord van datum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nsoek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n is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ugwerkend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38518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DDE2DDE-AF42-4E9A-9602-F240ACA89CB0}"/>
              </a:ext>
            </a:extLst>
          </p:cNvPr>
          <p:cNvSpPr txBox="1">
            <a:spLocks/>
          </p:cNvSpPr>
          <p:nvPr/>
        </p:nvSpPr>
        <p:spPr>
          <a:xfrm>
            <a:off x="238672" y="40520"/>
            <a:ext cx="11819978" cy="687498"/>
          </a:xfrm>
          <a:prstGeom prst="rect">
            <a:avLst/>
          </a:prstGeom>
          <a:ln>
            <a:solidFill>
              <a:srgbClr val="5B9BD5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MPAK VAN TARIEWE OP MUNISIPALE REKENING: MEDIUM HUISHOUDING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E41440-7E73-4675-B63D-3BC6592F83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7462" y="875354"/>
            <a:ext cx="9610178" cy="594212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5A0AC28-69B0-401C-8171-BB5999815E3A}"/>
              </a:ext>
            </a:extLst>
          </p:cNvPr>
          <p:cNvSpPr txBox="1"/>
          <p:nvPr/>
        </p:nvSpPr>
        <p:spPr>
          <a:xfrm>
            <a:off x="161926" y="1046770"/>
            <a:ext cx="1866352" cy="35394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sies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iendom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-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ar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700 000, 1 000 kWh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30 kl water </a:t>
            </a:r>
            <a:endParaRPr kumimoji="0" lang="en-ZA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CA0FB3B-853B-4202-8427-954918F1730F}"/>
              </a:ext>
            </a:extLst>
          </p:cNvPr>
          <p:cNvGraphicFramePr>
            <a:graphicFrameLocks noGrp="1"/>
          </p:cNvGraphicFramePr>
          <p:nvPr/>
        </p:nvGraphicFramePr>
        <p:xfrm>
          <a:off x="73954" y="5567697"/>
          <a:ext cx="2483508" cy="731520"/>
        </p:xfrm>
        <a:graphic>
          <a:graphicData uri="http://schemas.openxmlformats.org/drawingml/2006/table">
            <a:tbl>
              <a:tblPr firstRow="1" firstCol="1" bandRow="1"/>
              <a:tblGrid>
                <a:gridCol w="956422">
                  <a:extLst>
                    <a:ext uri="{9D8B030D-6E8A-4147-A177-3AD203B41FA5}">
                      <a16:colId xmlns:a16="http://schemas.microsoft.com/office/drawing/2014/main" val="439915490"/>
                    </a:ext>
                  </a:extLst>
                </a:gridCol>
                <a:gridCol w="1527086">
                  <a:extLst>
                    <a:ext uri="{9D8B030D-6E8A-4147-A177-3AD203B41FA5}">
                      <a16:colId xmlns:a16="http://schemas.microsoft.com/office/drawing/2014/main" val="903218031"/>
                    </a:ext>
                  </a:extLst>
                </a:gridCol>
              </a:tblGrid>
              <a:tr h="161925">
                <a:tc>
                  <a:txBody>
                    <a:bodyPr/>
                    <a:lstStyle/>
                    <a:p>
                      <a:r>
                        <a:rPr lang="en-ZA" sz="24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ullis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1.70 </a:t>
                      </a:r>
                      <a:r>
                        <a:rPr lang="en-ZA" sz="24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.m</a:t>
                      </a:r>
                      <a:endParaRPr lang="en-ZA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270350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r>
                        <a:rPr lang="en-ZA" sz="24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ool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40 </a:t>
                      </a:r>
                      <a:r>
                        <a:rPr lang="en-ZA" sz="24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.m</a:t>
                      </a:r>
                      <a:endParaRPr lang="en-ZA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746866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24F9510-8B4A-4E4B-B6CE-116570792D48}"/>
              </a:ext>
            </a:extLst>
          </p:cNvPr>
          <p:cNvSpPr txBox="1"/>
          <p:nvPr/>
        </p:nvSpPr>
        <p:spPr>
          <a:xfrm>
            <a:off x="438150" y="5114925"/>
            <a:ext cx="14763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A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30948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385F6CB-277D-4562-9620-1CF85F5B76A1}"/>
              </a:ext>
            </a:extLst>
          </p:cNvPr>
          <p:cNvSpPr txBox="1">
            <a:spLocks/>
          </p:cNvSpPr>
          <p:nvPr/>
        </p:nvSpPr>
        <p:spPr>
          <a:xfrm>
            <a:off x="0" y="33449"/>
            <a:ext cx="12192000" cy="687498"/>
          </a:xfrm>
          <a:prstGeom prst="rect">
            <a:avLst/>
          </a:prstGeom>
          <a:ln>
            <a:solidFill>
              <a:srgbClr val="5B9BD5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MPAK VAN TARIEWE OP MUNISIPALE REKENING: BEKOSTIGBARE HUISHOUDING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F2443ED-E7B6-464A-A07E-573500AD13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9374" y="720947"/>
            <a:ext cx="9333953" cy="6045856"/>
          </a:xfrm>
          <a:prstGeom prst="rect">
            <a:avLst/>
          </a:prstGeom>
          <a:solidFill>
            <a:schemeClr val="bg1"/>
          </a:solidFill>
          <a:ln>
            <a:solidFill>
              <a:srgbClr val="5B9BD5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62A8A0D-F2DA-4B04-80BB-9CA5FFC7104D}"/>
              </a:ext>
            </a:extLst>
          </p:cNvPr>
          <p:cNvSpPr txBox="1"/>
          <p:nvPr/>
        </p:nvSpPr>
        <p:spPr>
          <a:xfrm>
            <a:off x="104775" y="1804883"/>
            <a:ext cx="2275925" cy="26776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iendoms-waarde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500 000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700 000, 500 kWh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t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5 kl water </a:t>
            </a:r>
            <a:endParaRPr kumimoji="0" lang="en-ZA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E8EFAD-A91F-4268-8A3F-1C13123323E0}"/>
              </a:ext>
            </a:extLst>
          </p:cNvPr>
          <p:cNvSpPr txBox="1"/>
          <p:nvPr/>
        </p:nvSpPr>
        <p:spPr>
          <a:xfrm>
            <a:off x="438150" y="5114925"/>
            <a:ext cx="14763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AK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78095BB-4F44-4E0B-B609-CFBEE335F2EB}"/>
              </a:ext>
            </a:extLst>
          </p:cNvPr>
          <p:cNvGraphicFramePr>
            <a:graphicFrameLocks noGrp="1"/>
          </p:cNvGraphicFramePr>
          <p:nvPr/>
        </p:nvGraphicFramePr>
        <p:xfrm>
          <a:off x="262211" y="5552480"/>
          <a:ext cx="2261914" cy="731520"/>
        </p:xfrm>
        <a:graphic>
          <a:graphicData uri="http://schemas.openxmlformats.org/drawingml/2006/table">
            <a:tbl>
              <a:tblPr firstRow="1" firstCol="1" bandRow="1"/>
              <a:tblGrid>
                <a:gridCol w="871084">
                  <a:extLst>
                    <a:ext uri="{9D8B030D-6E8A-4147-A177-3AD203B41FA5}">
                      <a16:colId xmlns:a16="http://schemas.microsoft.com/office/drawing/2014/main" val="439915490"/>
                    </a:ext>
                  </a:extLst>
                </a:gridCol>
                <a:gridCol w="1390830">
                  <a:extLst>
                    <a:ext uri="{9D8B030D-6E8A-4147-A177-3AD203B41FA5}">
                      <a16:colId xmlns:a16="http://schemas.microsoft.com/office/drawing/2014/main" val="903218031"/>
                    </a:ext>
                  </a:extLst>
                </a:gridCol>
              </a:tblGrid>
              <a:tr h="161925">
                <a:tc>
                  <a:txBody>
                    <a:bodyPr/>
                    <a:lstStyle/>
                    <a:p>
                      <a:r>
                        <a:rPr lang="en-ZA" sz="24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ullis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1.70 </a:t>
                      </a:r>
                      <a:r>
                        <a:rPr lang="en-ZA" sz="24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.m</a:t>
                      </a:r>
                      <a:endParaRPr lang="en-ZA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270350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r>
                        <a:rPr lang="en-ZA" sz="24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ool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40 </a:t>
                      </a:r>
                      <a:r>
                        <a:rPr lang="en-ZA" sz="24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.m</a:t>
                      </a:r>
                      <a:endParaRPr lang="en-ZA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746866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238741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749FEC-6407-4B69-8574-5AE315566FD0}"/>
              </a:ext>
            </a:extLst>
          </p:cNvPr>
          <p:cNvSpPr txBox="1">
            <a:spLocks/>
          </p:cNvSpPr>
          <p:nvPr/>
        </p:nvSpPr>
        <p:spPr>
          <a:xfrm>
            <a:off x="616023" y="-34925"/>
            <a:ext cx="11251579" cy="687498"/>
          </a:xfrm>
          <a:prstGeom prst="rect">
            <a:avLst/>
          </a:prstGeom>
          <a:ln>
            <a:solidFill>
              <a:srgbClr val="5B9BD5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MPAK VAN TARIEWE OP MUNISIPALE REKENING: DEERNISHUISHOUDING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2BD9F82-ACEC-4365-837E-2D554BB073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7236" y="652573"/>
            <a:ext cx="8048076" cy="6098665"/>
          </a:xfrm>
          <a:prstGeom prst="rect">
            <a:avLst/>
          </a:prstGeom>
          <a:solidFill>
            <a:schemeClr val="bg1"/>
          </a:solidFill>
          <a:ln>
            <a:solidFill>
              <a:srgbClr val="5B9BD5"/>
            </a:solidFill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7E43495-C0DC-42DA-8E51-B769CDEA4C8B}"/>
              </a:ext>
            </a:extLst>
          </p:cNvPr>
          <p:cNvSpPr txBox="1"/>
          <p:nvPr/>
        </p:nvSpPr>
        <p:spPr>
          <a:xfrm>
            <a:off x="71983" y="827391"/>
            <a:ext cx="3766591" cy="52629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iendomswaarde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300 000, 350 kWh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t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0 kl water (50 kWh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t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6 kl water gratis). 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erhoging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n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kening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l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77.21 per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and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wees.  Met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nde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bruik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l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hoging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einer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ees.  As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ardasie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bruik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ernis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water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ktrisiteit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bruik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ord, is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hoging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55,73/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and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arvan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t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35.07 or 62.9 %)</a:t>
            </a:r>
            <a:endParaRPr kumimoji="0" lang="en-ZA" sz="2400" b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74970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263352" y="1412776"/>
            <a:ext cx="11662043" cy="1152128"/>
          </a:xfrm>
        </p:spPr>
        <p:txBody>
          <a:bodyPr anchor="t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GB" sz="4000" dirty="0">
                <a:solidFill>
                  <a:schemeClr val="tx1"/>
                </a:solidFill>
              </a:rPr>
              <a:t>MUNICIPALITY  ●  BERGRIVIER  ●  MUNISIPALITEIT</a:t>
            </a:r>
          </a:p>
        </p:txBody>
      </p:sp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322887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13831" y="5322888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45856" y="5322887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087394" y="5322887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4175" y="5322725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685384" y="2276872"/>
            <a:ext cx="10945216" cy="1728192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11879" y="0"/>
            <a:ext cx="1080120" cy="140019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97924" y="2856274"/>
            <a:ext cx="1046665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KONSEP GOP (IDP) 2022/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3600" b="1" kern="0" dirty="0">
                <a:solidFill>
                  <a:prstClr val="black"/>
                </a:solidFill>
                <a:latin typeface="Century Gothic"/>
              </a:rPr>
              <a:t>BEHOEFTES VAN </a:t>
            </a:r>
            <a:r>
              <a:rPr lang="en-ZA" sz="3600" b="1" kern="0">
                <a:solidFill>
                  <a:prstClr val="black"/>
                </a:solidFill>
                <a:latin typeface="Century Gothic"/>
              </a:rPr>
              <a:t>WYK 3 </a:t>
            </a:r>
            <a:r>
              <a:rPr lang="en-ZA" sz="3600" b="1" kern="0" dirty="0">
                <a:solidFill>
                  <a:prstClr val="black"/>
                </a:solidFill>
                <a:latin typeface="Century Gothic"/>
              </a:rPr>
              <a:t>SOOS TANS IN GOP</a:t>
            </a:r>
            <a:endParaRPr kumimoji="0" lang="en-ZA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80177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-1693056"/>
            <a:ext cx="11953328" cy="404851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HOEFTES VAN WYK 3 (</a:t>
            </a:r>
            <a:r>
              <a:rPr lang="en-GB" sz="3200" b="1" dirty="0">
                <a:solidFill>
                  <a:prstClr val="white"/>
                </a:solidFill>
                <a:latin typeface="Calibri" panose="020F0502020204030204" pitchFamily="34" charset="0"/>
              </a:rPr>
              <a:t>GOP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)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897EB13-CC2B-4196-BE48-B18FB90CF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052363"/>
              </p:ext>
            </p:extLst>
          </p:nvPr>
        </p:nvGraphicFramePr>
        <p:xfrm>
          <a:off x="104775" y="624404"/>
          <a:ext cx="11982450" cy="3152866"/>
        </p:xfrm>
        <a:graphic>
          <a:graphicData uri="http://schemas.openxmlformats.org/drawingml/2006/table">
            <a:tbl>
              <a:tblPr/>
              <a:tblGrid>
                <a:gridCol w="1737773">
                  <a:extLst>
                    <a:ext uri="{9D8B030D-6E8A-4147-A177-3AD203B41FA5}">
                      <a16:colId xmlns:a16="http://schemas.microsoft.com/office/drawing/2014/main" val="772746236"/>
                    </a:ext>
                  </a:extLst>
                </a:gridCol>
                <a:gridCol w="10244677">
                  <a:extLst>
                    <a:ext uri="{9D8B030D-6E8A-4147-A177-3AD203B41FA5}">
                      <a16:colId xmlns:a16="http://schemas.microsoft.com/office/drawing/2014/main" val="1044272795"/>
                    </a:ext>
                  </a:extLst>
                </a:gridCol>
              </a:tblGrid>
              <a:tr h="427965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lid Waste</a:t>
                      </a: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cycling programme of waste needs to continue according to the business plan</a:t>
                      </a:r>
                      <a:endParaRPr lang="en-GB" sz="2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2061"/>
                  </a:ext>
                </a:extLst>
              </a:tr>
              <a:tr h="358098">
                <a:tc vMerge="1">
                  <a:txBody>
                    <a:bodyPr/>
                    <a:lstStyle/>
                    <a:p>
                      <a:pPr algn="l" fontAlgn="ctr"/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stablishment of a composting facility at the land fill site</a:t>
                      </a:r>
                      <a:endParaRPr lang="en-GB" sz="2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1159266"/>
                  </a:ext>
                </a:extLst>
              </a:tr>
              <a:tr h="358098">
                <a:tc vMerge="1">
                  <a:txBody>
                    <a:bodyPr/>
                    <a:lstStyle/>
                    <a:p>
                      <a:pPr algn="l" fontAlgn="ctr"/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large recycling building </a:t>
                      </a: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663548"/>
                  </a:ext>
                </a:extLst>
              </a:tr>
              <a:tr h="358098"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orm Water</a:t>
                      </a: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pgrading of storm water systems in Ward 3 &amp; </a:t>
                      </a:r>
                      <a:r>
                        <a:rPr lang="en-GB" sz="2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546590"/>
                  </a:ext>
                </a:extLst>
              </a:tr>
              <a:tr h="358098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ads and Pavements</a:t>
                      </a: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ads and Pavements</a:t>
                      </a:r>
                      <a:r>
                        <a:rPr lang="en-GB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pgrade of roads and stormwater</a:t>
                      </a:r>
                      <a:endParaRPr lang="en-GB" sz="2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785601"/>
                  </a:ext>
                </a:extLst>
              </a:tr>
              <a:tr h="416470"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ads and Pavements</a:t>
                      </a: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rring of road in front of clinic</a:t>
                      </a:r>
                      <a:endParaRPr lang="en-GB" sz="2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5563263"/>
                  </a:ext>
                </a:extLst>
              </a:tr>
              <a:tr h="451176">
                <a:tc vMerge="1">
                  <a:txBody>
                    <a:bodyPr/>
                    <a:lstStyle/>
                    <a:p>
                      <a:pPr algn="l" fontAlgn="ctr"/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destrian crossing between Piketberg &amp; </a:t>
                      </a:r>
                      <a:r>
                        <a:rPr lang="en-GB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nkelshoek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ver the N7 highway</a:t>
                      </a:r>
                      <a:endParaRPr lang="en-GB" sz="2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257369"/>
                  </a:ext>
                </a:extLst>
              </a:tr>
              <a:tr h="358098"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</a:t>
                      </a: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tion of new Reservoir</a:t>
                      </a:r>
                      <a:endParaRPr lang="en-ZA" sz="2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691" marR="5691" marT="569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3811672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BE64A44-8A02-47DB-A7E9-D9778AFA50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8960488"/>
              </p:ext>
            </p:extLst>
          </p:nvPr>
        </p:nvGraphicFramePr>
        <p:xfrm>
          <a:off x="104775" y="3952875"/>
          <a:ext cx="11953328" cy="2737134"/>
        </p:xfrm>
        <a:graphic>
          <a:graphicData uri="http://schemas.openxmlformats.org/drawingml/2006/table">
            <a:tbl>
              <a:tblPr/>
              <a:tblGrid>
                <a:gridCol w="1724025">
                  <a:extLst>
                    <a:ext uri="{9D8B030D-6E8A-4147-A177-3AD203B41FA5}">
                      <a16:colId xmlns:a16="http://schemas.microsoft.com/office/drawing/2014/main" val="2989848008"/>
                    </a:ext>
                  </a:extLst>
                </a:gridCol>
                <a:gridCol w="10229303">
                  <a:extLst>
                    <a:ext uri="{9D8B030D-6E8A-4147-A177-3AD203B41FA5}">
                      <a16:colId xmlns:a16="http://schemas.microsoft.com/office/drawing/2014/main" val="2638579970"/>
                    </a:ext>
                  </a:extLst>
                </a:gridCol>
              </a:tblGrid>
              <a:tr h="456189">
                <a:tc rowSpan="6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 faciliti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nicipal facilities to be disabled friendl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468108"/>
                  </a:ext>
                </a:extLst>
              </a:tr>
              <a:tr h="456189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ncing around play park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453473"/>
                  </a:ext>
                </a:extLst>
              </a:tr>
              <a:tr h="456189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nches at play parks and general upgrading of play park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876166"/>
                  </a:ext>
                </a:extLst>
              </a:tr>
              <a:tr h="456189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e community park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758116"/>
                  </a:ext>
                </a:extLst>
              </a:tr>
              <a:tr h="456189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-Fi at libraries to be install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988133"/>
                  </a:ext>
                </a:extLst>
              </a:tr>
              <a:tr h="456189">
                <a:tc vMerge="1">
                  <a:txBody>
                    <a:bodyPr/>
                    <a:lstStyle/>
                    <a:p>
                      <a:pPr algn="l" fontAlgn="ctr"/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lic toile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88032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6821646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322887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85969" y="5322888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91100" y="5325901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132637" y="5326063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664" y="5326063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0" y="1144906"/>
            <a:ext cx="11953328" cy="4894559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RGRIVIER MUNISIPALITEIT</a:t>
            </a:r>
          </a:p>
          <a:p>
            <a:pPr marL="571500" marR="0" lvl="0" indent="-57150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Wet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paal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on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moet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met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gemeenskap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konsulteer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oor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hoefte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van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gemeenskap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;</a:t>
            </a:r>
          </a:p>
          <a:p>
            <a:pPr marL="571500" marR="0" lvl="0" indent="-57150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Raad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het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vorige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IDP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aanvaar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agv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verkiesingsdatum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;</a:t>
            </a:r>
          </a:p>
          <a:p>
            <a:pPr marL="571500" marR="0" lvl="0" indent="-57150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hoefte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in IDP is in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Hoofstuk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6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volledig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;</a:t>
            </a:r>
          </a:p>
          <a:p>
            <a:pPr marL="571500" marR="0" lvl="0" indent="-57150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spreek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eer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konsep-begroting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en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dan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huidige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hoefte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.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08" b="100000" l="0" r="100000">
                        <a14:foregroundMark x1="48502" y1="27494" x2="48502" y2="27494"/>
                        <a14:foregroundMark x1="55920" y1="25172" x2="55920" y2="25172"/>
                        <a14:foregroundMark x1="50689" y1="17156" x2="50689" y2="17156"/>
                        <a14:foregroundMark x1="44983" y1="34168" x2="44983" y2="34168"/>
                        <a14:foregroundMark x1="46315" y1="44505" x2="46315" y2="44505"/>
                        <a14:foregroundMark x1="49786" y1="45847" x2="49786" y2="45847"/>
                        <a14:foregroundMark x1="32335" y1="53500" x2="32335" y2="53500"/>
                        <a14:foregroundMark x1="66381" y1="50490" x2="66381" y2="50490"/>
                        <a14:foregroundMark x1="78650" y1="79507" x2="78650" y2="79507"/>
                        <a14:foregroundMark x1="72515" y1="89518" x2="71232" y2="89844"/>
                        <a14:foregroundMark x1="46315" y1="93834" x2="46315" y2="93834"/>
                        <a14:foregroundMark x1="30147" y1="90497" x2="30147" y2="90497"/>
                        <a14:foregroundMark x1="22254" y1="80486" x2="22254" y2="80486"/>
                        <a14:foregroundMark x1="6990" y1="63838" x2="6990" y2="63838"/>
                        <a14:foregroundMark x1="20067" y1="80160" x2="20067" y2="80160"/>
                        <a14:foregroundMark x1="6990" y1="41821" x2="6990" y2="41821"/>
                        <a14:foregroundMark x1="92630" y1="42184" x2="92630" y2="42184"/>
                        <a14:foregroundMark x1="91774" y1="63838" x2="91774" y2="63838"/>
                        <a14:foregroundMark x1="83452" y1="83497" x2="83452" y2="83497"/>
                        <a14:foregroundMark x1="19211" y1="85165" x2="19211" y2="85165"/>
                        <a14:foregroundMark x1="55920" y1="34820" x2="55920" y2="348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146" y="170328"/>
            <a:ext cx="1295854" cy="16943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910612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C55430B-C3D3-42FF-80B8-372D7673A0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7688731"/>
              </p:ext>
            </p:extLst>
          </p:nvPr>
        </p:nvGraphicFramePr>
        <p:xfrm>
          <a:off x="133350" y="1152133"/>
          <a:ext cx="11819978" cy="2354437"/>
        </p:xfrm>
        <a:graphic>
          <a:graphicData uri="http://schemas.openxmlformats.org/drawingml/2006/table">
            <a:tbl>
              <a:tblPr/>
              <a:tblGrid>
                <a:gridCol w="2456902">
                  <a:extLst>
                    <a:ext uri="{9D8B030D-6E8A-4147-A177-3AD203B41FA5}">
                      <a16:colId xmlns:a16="http://schemas.microsoft.com/office/drawing/2014/main" val="1212588785"/>
                    </a:ext>
                  </a:extLst>
                </a:gridCol>
                <a:gridCol w="9363076">
                  <a:extLst>
                    <a:ext uri="{9D8B030D-6E8A-4147-A177-3AD203B41FA5}">
                      <a16:colId xmlns:a16="http://schemas.microsoft.com/office/drawing/2014/main" val="3428494967"/>
                    </a:ext>
                  </a:extLst>
                </a:gridCol>
              </a:tblGrid>
              <a:tr h="645308"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ffic &amp; Law enforce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order at the taxi rank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2563927"/>
                  </a:ext>
                </a:extLst>
              </a:tr>
              <a:tr h="513089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ed bump in Lavender str due to high speedin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265271"/>
                  </a:ext>
                </a:extLst>
              </a:tr>
              <a:tr h="513089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rivers License Test Yar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6457677"/>
                  </a:ext>
                </a:extLst>
              </a:tr>
              <a:tr h="682951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velopment of a rural and urban safety plan for Bergrivier municipal are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739169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13E49A4-F580-481D-9D7E-EE5A8D8FD7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3152924"/>
              </p:ext>
            </p:extLst>
          </p:nvPr>
        </p:nvGraphicFramePr>
        <p:xfrm>
          <a:off x="66675" y="3762375"/>
          <a:ext cx="11953328" cy="2532135"/>
        </p:xfrm>
        <a:graphic>
          <a:graphicData uri="http://schemas.openxmlformats.org/drawingml/2006/table">
            <a:tbl>
              <a:tblPr/>
              <a:tblGrid>
                <a:gridCol w="2552700">
                  <a:extLst>
                    <a:ext uri="{9D8B030D-6E8A-4147-A177-3AD203B41FA5}">
                      <a16:colId xmlns:a16="http://schemas.microsoft.com/office/drawing/2014/main" val="1592573605"/>
                    </a:ext>
                  </a:extLst>
                </a:gridCol>
                <a:gridCol w="9400628">
                  <a:extLst>
                    <a:ext uri="{9D8B030D-6E8A-4147-A177-3AD203B41FA5}">
                      <a16:colId xmlns:a16="http://schemas.microsoft.com/office/drawing/2014/main" val="3488982402"/>
                    </a:ext>
                  </a:extLst>
                </a:gridCol>
              </a:tblGrid>
              <a:tr h="944875"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rt Develop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en Games take place on an annual basis and serves an important purposes for the elderl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648438"/>
                  </a:ext>
                </a:extLst>
              </a:tr>
              <a:tr h="634254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</a:t>
                      </a:r>
                      <a:r>
                        <a:rPr lang="en-ZA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bal</a:t>
                      </a:r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ur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1179183"/>
                  </a:ext>
                </a:extLst>
              </a:tr>
              <a:tr h="476503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reational facilities to be upgraded at cricket fiel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8681578"/>
                  </a:ext>
                </a:extLst>
              </a:tr>
              <a:tr h="476503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ing of building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600123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E8CD463-1AD6-48C2-87B7-BD715F751EB2}"/>
              </a:ext>
            </a:extLst>
          </p:cNvPr>
          <p:cNvSpPr txBox="1"/>
          <p:nvPr/>
        </p:nvSpPr>
        <p:spPr>
          <a:xfrm>
            <a:off x="2928664" y="240865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HOEFTES VAN WYK 3 (GOP</a:t>
            </a: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95249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3EC2D67-3C05-4E8D-83E3-4E3996B1C2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935430"/>
              </p:ext>
            </p:extLst>
          </p:nvPr>
        </p:nvGraphicFramePr>
        <p:xfrm>
          <a:off x="161927" y="824692"/>
          <a:ext cx="11896724" cy="3290106"/>
        </p:xfrm>
        <a:graphic>
          <a:graphicData uri="http://schemas.openxmlformats.org/drawingml/2006/table">
            <a:tbl>
              <a:tblPr/>
              <a:tblGrid>
                <a:gridCol w="2021246">
                  <a:extLst>
                    <a:ext uri="{9D8B030D-6E8A-4147-A177-3AD203B41FA5}">
                      <a16:colId xmlns:a16="http://schemas.microsoft.com/office/drawing/2014/main" val="3038989684"/>
                    </a:ext>
                  </a:extLst>
                </a:gridCol>
                <a:gridCol w="9875478">
                  <a:extLst>
                    <a:ext uri="{9D8B030D-6E8A-4147-A177-3AD203B41FA5}">
                      <a16:colId xmlns:a16="http://schemas.microsoft.com/office/drawing/2014/main" val="2672295121"/>
                    </a:ext>
                  </a:extLst>
                </a:gridCol>
              </a:tblGrid>
              <a:tr h="412495">
                <a:tc rowSpan="6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 Develop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inuous training for local SMME's required</a:t>
                      </a:r>
                      <a:endParaRPr lang="en-GB" sz="2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8043425"/>
                  </a:ext>
                </a:extLst>
              </a:tr>
              <a:tr h="412495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lementation of the agricultural programm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611478"/>
                  </a:ext>
                </a:extLst>
              </a:tr>
              <a:tr h="549055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nd for formal businesses is requir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6978024"/>
                  </a:ext>
                </a:extLst>
              </a:tr>
              <a:tr h="817951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cussions with PPC need to continue regarding the use of sustainable energy at the pla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2784952"/>
                  </a:ext>
                </a:extLst>
              </a:tr>
              <a:tr h="549055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ea market and home made produc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7290281"/>
                  </a:ext>
                </a:extLst>
              </a:tr>
              <a:tr h="549055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 need for technical training facilit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6498240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C1A03F0-1A16-43BF-90F4-2766EE22B2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450175"/>
              </p:ext>
            </p:extLst>
          </p:nvPr>
        </p:nvGraphicFramePr>
        <p:xfrm>
          <a:off x="161926" y="4433106"/>
          <a:ext cx="11896724" cy="2076562"/>
        </p:xfrm>
        <a:graphic>
          <a:graphicData uri="http://schemas.openxmlformats.org/drawingml/2006/table">
            <a:tbl>
              <a:tblPr/>
              <a:tblGrid>
                <a:gridCol w="2057399">
                  <a:extLst>
                    <a:ext uri="{9D8B030D-6E8A-4147-A177-3AD203B41FA5}">
                      <a16:colId xmlns:a16="http://schemas.microsoft.com/office/drawing/2014/main" val="4198489454"/>
                    </a:ext>
                  </a:extLst>
                </a:gridCol>
                <a:gridCol w="9839325">
                  <a:extLst>
                    <a:ext uri="{9D8B030D-6E8A-4147-A177-3AD203B41FA5}">
                      <a16:colId xmlns:a16="http://schemas.microsoft.com/office/drawing/2014/main" val="1175061430"/>
                    </a:ext>
                  </a:extLst>
                </a:gridCol>
              </a:tblGrid>
              <a:tr h="720000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Youth develop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 Youth Café in Piketberg based in the envisaged POP Centre</a:t>
                      </a:r>
                      <a:r>
                        <a:rPr lang="en-GB" sz="4800" strike="noStrik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GB" sz="2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449900"/>
                  </a:ext>
                </a:extLst>
              </a:tr>
              <a:tr h="535899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ablishment of an Agricultural School in Piketber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169060"/>
                  </a:ext>
                </a:extLst>
              </a:tr>
              <a:tr h="802793"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outh develop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-centre to be established to ensure access to training in IT</a:t>
                      </a:r>
                      <a:endParaRPr lang="en-GB" sz="2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41900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1CDA5E10-373C-49DE-9889-B51DA84C51DB}"/>
              </a:ext>
            </a:extLst>
          </p:cNvPr>
          <p:cNvSpPr txBox="1"/>
          <p:nvPr/>
        </p:nvSpPr>
        <p:spPr>
          <a:xfrm>
            <a:off x="3047998" y="106273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HOEFTES VAN WYK 3 (</a:t>
            </a:r>
            <a:r>
              <a:rPr lang="en-GB" sz="3200" b="1" dirty="0">
                <a:solidFill>
                  <a:prstClr val="white"/>
                </a:solidFill>
                <a:latin typeface="Calibri" panose="020F0502020204030204" pitchFamily="34" charset="0"/>
              </a:rPr>
              <a:t>GOP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19933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8EA4653-2B5C-41E3-88D5-52C2BC6ABF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038317"/>
              </p:ext>
            </p:extLst>
          </p:nvPr>
        </p:nvGraphicFramePr>
        <p:xfrm>
          <a:off x="119336" y="131250"/>
          <a:ext cx="11953328" cy="6402899"/>
        </p:xfrm>
        <a:graphic>
          <a:graphicData uri="http://schemas.openxmlformats.org/drawingml/2006/table">
            <a:tbl>
              <a:tblPr/>
              <a:tblGrid>
                <a:gridCol w="2190202">
                  <a:extLst>
                    <a:ext uri="{9D8B030D-6E8A-4147-A177-3AD203B41FA5}">
                      <a16:colId xmlns:a16="http://schemas.microsoft.com/office/drawing/2014/main" val="4011169945"/>
                    </a:ext>
                  </a:extLst>
                </a:gridCol>
                <a:gridCol w="9763126">
                  <a:extLst>
                    <a:ext uri="{9D8B030D-6E8A-4147-A177-3AD203B41FA5}">
                      <a16:colId xmlns:a16="http://schemas.microsoft.com/office/drawing/2014/main" val="1426521019"/>
                    </a:ext>
                  </a:extLst>
                </a:gridCol>
              </a:tblGrid>
              <a:tr h="44597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HER SPHERES OF GOVERNMENT</a:t>
                      </a: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54140310"/>
                  </a:ext>
                </a:extLst>
              </a:tr>
              <a:tr h="524853"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ducation</a:t>
                      </a: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ketberg Primary School: New infrastructure assets</a:t>
                      </a:r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2156697"/>
                  </a:ext>
                </a:extLst>
              </a:tr>
              <a:tr h="524853"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ce services</a:t>
                      </a: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ension of police station and prison cells are required </a:t>
                      </a:r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455294"/>
                  </a:ext>
                </a:extLst>
              </a:tr>
              <a:tr h="524853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lth</a:t>
                      </a: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ension of clinic is required in Ward 4</a:t>
                      </a:r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8765070"/>
                  </a:ext>
                </a:extLst>
              </a:tr>
              <a:tr h="524853">
                <a:tc vMerge="1">
                  <a:txBody>
                    <a:bodyPr/>
                    <a:lstStyle/>
                    <a:p>
                      <a:pPr algn="l" fontAlgn="ctr"/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e </a:t>
                      </a:r>
                      <a:r>
                        <a:rPr lang="en-ZA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ie</a:t>
                      </a:r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Kotze Hospital</a:t>
                      </a:r>
                      <a:endParaRPr lang="en-ZA" dirty="0"/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7478411"/>
                  </a:ext>
                </a:extLst>
              </a:tr>
              <a:tr h="524853"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me Affairs</a:t>
                      </a: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ed for a local office of Home Affairs</a:t>
                      </a:r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541647"/>
                  </a:ext>
                </a:extLst>
              </a:tr>
              <a:tr h="44597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HER MUNICIPAL NEEDS</a:t>
                      </a: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4722427"/>
                  </a:ext>
                </a:extLst>
              </a:tr>
              <a:tr h="1224657"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cation</a:t>
                      </a: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 communication with public such a </a:t>
                      </a:r>
                      <a:r>
                        <a:rPr lang="en-GB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s</a:t>
                      </a:r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emails, as to inform public on emergencies, service delivery delays, etc</a:t>
                      </a:r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6541"/>
                  </a:ext>
                </a:extLst>
              </a:tr>
              <a:tr h="1662035">
                <a:tc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ent services &amp; Communication</a:t>
                      </a: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ent services not on standard.  Telephone/ Reception insufficient and IMIS system completely ineffective.  Client services official must be more accessible and available for the public and handling of enquiries. </a:t>
                      </a:r>
                      <a:endParaRPr lang="en-ZA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313" marR="1313" marT="131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97632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483256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53988" y="2312894"/>
            <a:ext cx="7046259" cy="3092824"/>
          </a:xfrm>
          <a:solidFill>
            <a:schemeClr val="accent1">
              <a:lumMod val="75000"/>
            </a:schemeClr>
          </a:solidFill>
        </p:spPr>
        <p:txBody>
          <a:bodyPr>
            <a:normAutofit fontScale="90000"/>
          </a:bodyPr>
          <a:lstStyle/>
          <a:p>
            <a:r>
              <a:rPr lang="en-US" dirty="0" err="1"/>
              <a:t>Stuur</a:t>
            </a:r>
            <a:r>
              <a:rPr lang="en-US" dirty="0"/>
              <a:t> u </a:t>
            </a:r>
            <a:r>
              <a:rPr lang="en-US" dirty="0" err="1"/>
              <a:t>kommentaar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>
                <a:ln w="0">
                  <a:solidFill>
                    <a:schemeClr val="bg1"/>
                  </a:solidFill>
                </a:ln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b@bergmun.org.za</a:t>
            </a:r>
            <a:r>
              <a:rPr lang="en-US" dirty="0">
                <a:ln w="0">
                  <a:solidFill>
                    <a:schemeClr val="bg1"/>
                  </a:solidFill>
                </a:ln>
              </a:rPr>
              <a:t> of cfo@bergmun.org.za</a:t>
            </a:r>
            <a:r>
              <a:rPr lang="en-US" dirty="0">
                <a:ln>
                  <a:solidFill>
                    <a:schemeClr val="bg1"/>
                  </a:solidFill>
                </a:ln>
                <a:noFill/>
              </a:rPr>
              <a:t> </a:t>
            </a:r>
            <a:r>
              <a:rPr lang="en-US" dirty="0" err="1"/>
              <a:t>voor</a:t>
            </a:r>
            <a:r>
              <a:rPr lang="en-US" dirty="0"/>
              <a:t> 5 Mei 2022</a:t>
            </a:r>
            <a:endParaRPr lang="en-US" sz="3600" b="1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3012" y="94129"/>
            <a:ext cx="1434353" cy="161364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971800" y="551329"/>
            <a:ext cx="54191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000" b="1" i="0" u="none" strike="noStrike" kern="1200" cap="none" spc="0" normalizeH="0" baseline="0" noProof="0" dirty="0">
                <a:ln>
                  <a:noFill/>
                </a:ln>
                <a:solidFill>
                  <a:srgbClr val="4D3E2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NS DIEN MET TROTS</a:t>
            </a:r>
          </a:p>
        </p:txBody>
      </p:sp>
    </p:spTree>
    <p:extLst>
      <p:ext uri="{BB962C8B-B14F-4D97-AF65-F5344CB8AC3E}">
        <p14:creationId xmlns:p14="http://schemas.microsoft.com/office/powerpoint/2010/main" val="296823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263352" y="1412776"/>
            <a:ext cx="11662043" cy="1152128"/>
          </a:xfrm>
        </p:spPr>
        <p:txBody>
          <a:bodyPr anchor="t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GB" sz="4000" dirty="0">
                <a:solidFill>
                  <a:schemeClr val="tx1"/>
                </a:solidFill>
              </a:rPr>
              <a:t>MUNICIPALITY  ●  BERGRIVIER  ●  MUNISIPALITEIT</a:t>
            </a:r>
          </a:p>
        </p:txBody>
      </p:sp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013176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59075" y="5013177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91100" y="5013176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132637" y="5013176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663" y="5013176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685384" y="2276872"/>
            <a:ext cx="10945216" cy="1728192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11879" y="0"/>
            <a:ext cx="1080120" cy="140019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97924" y="2856274"/>
            <a:ext cx="10466658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RAFT BUDGET 2022/2023 FINANCIAL INFORM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KONSEPBEGROTING 2022/2023 FINANSIËLE INLIGTING</a:t>
            </a: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2478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322887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85969" y="5322888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91100" y="5325901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132637" y="5326063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664" y="5326063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70367" y="362596"/>
            <a:ext cx="84512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LGEMENE OORSIG VAN MUNISIPALE FINANSIES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013A9651-EEA7-461F-997B-293B1406B8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802668"/>
              </p:ext>
            </p:extLst>
          </p:nvPr>
        </p:nvGraphicFramePr>
        <p:xfrm>
          <a:off x="523876" y="1380734"/>
          <a:ext cx="11210925" cy="3505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6975">
                  <a:extLst>
                    <a:ext uri="{9D8B030D-6E8A-4147-A177-3AD203B41FA5}">
                      <a16:colId xmlns:a16="http://schemas.microsoft.com/office/drawing/2014/main" val="858454169"/>
                    </a:ext>
                  </a:extLst>
                </a:gridCol>
                <a:gridCol w="3736975">
                  <a:extLst>
                    <a:ext uri="{9D8B030D-6E8A-4147-A177-3AD203B41FA5}">
                      <a16:colId xmlns:a16="http://schemas.microsoft.com/office/drawing/2014/main" val="4215171624"/>
                    </a:ext>
                  </a:extLst>
                </a:gridCol>
                <a:gridCol w="3736975">
                  <a:extLst>
                    <a:ext uri="{9D8B030D-6E8A-4147-A177-3AD203B41FA5}">
                      <a16:colId xmlns:a16="http://schemas.microsoft.com/office/drawing/2014/main" val="2846562851"/>
                    </a:ext>
                  </a:extLst>
                </a:gridCol>
              </a:tblGrid>
              <a:tr h="1168530">
                <a:tc>
                  <a:txBody>
                    <a:bodyPr/>
                    <a:lstStyle/>
                    <a:p>
                      <a:pPr algn="ctr"/>
                      <a:r>
                        <a:rPr lang="en-ZA" sz="3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KOMSTE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ZA" sz="3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ITGAWE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ZA" sz="3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2358124"/>
                  </a:ext>
                </a:extLst>
              </a:tr>
              <a:tr h="1168530">
                <a:tc>
                  <a:txBody>
                    <a:bodyPr/>
                    <a:lstStyle/>
                    <a:p>
                      <a:r>
                        <a:rPr kumimoji="0" lang="en-ZA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  494,861,665 </a:t>
                      </a:r>
                      <a:endParaRPr lang="en-ZA" sz="3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ZA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  74,967,566 </a:t>
                      </a:r>
                      <a:endParaRPr lang="en-ZA" sz="3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3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itaalbegroting</a:t>
                      </a:r>
                      <a:endParaRPr lang="en-ZA" sz="3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0636682"/>
                  </a:ext>
                </a:extLst>
              </a:tr>
              <a:tr h="1168530">
                <a:tc>
                  <a:txBody>
                    <a:bodyPr/>
                    <a:lstStyle/>
                    <a:p>
                      <a:endParaRPr lang="en-ZA" sz="3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ZA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  493,616,273 </a:t>
                      </a:r>
                      <a:endParaRPr lang="en-ZA" sz="3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3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dryfsbegroting</a:t>
                      </a:r>
                      <a:endParaRPr lang="en-ZA" sz="3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86544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247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8662440-CCD5-4F30-AEFE-556DCBA57E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437171"/>
              </p:ext>
            </p:extLst>
          </p:nvPr>
        </p:nvGraphicFramePr>
        <p:xfrm>
          <a:off x="1544320" y="213360"/>
          <a:ext cx="9723119" cy="6421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59576">
                  <a:extLst>
                    <a:ext uri="{9D8B030D-6E8A-4147-A177-3AD203B41FA5}">
                      <a16:colId xmlns:a16="http://schemas.microsoft.com/office/drawing/2014/main" val="1288111138"/>
                    </a:ext>
                  </a:extLst>
                </a:gridCol>
                <a:gridCol w="2043706">
                  <a:extLst>
                    <a:ext uri="{9D8B030D-6E8A-4147-A177-3AD203B41FA5}">
                      <a16:colId xmlns:a16="http://schemas.microsoft.com/office/drawing/2014/main" val="2720098876"/>
                    </a:ext>
                  </a:extLst>
                </a:gridCol>
                <a:gridCol w="1419837">
                  <a:extLst>
                    <a:ext uri="{9D8B030D-6E8A-4147-A177-3AD203B41FA5}">
                      <a16:colId xmlns:a16="http://schemas.microsoft.com/office/drawing/2014/main" val="1885895160"/>
                    </a:ext>
                  </a:extLst>
                </a:gridCol>
              </a:tblGrid>
              <a:tr h="58373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OTALE KAPITAALBESTEDING: R  74,967,566 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839967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voorsiening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 470 4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4817115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olering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710 0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30390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aie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tormwa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035 0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220899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rt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tspanning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10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333681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voerbates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31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2559454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12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005088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ntoormeubels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erusting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30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2609324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boue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siliteite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28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8018950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meenskap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siale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siliteite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01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5508493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ste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val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245294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63764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CBEC776B-2AA8-4D12-8671-B3A2DD6E09A6}"/>
              </a:ext>
            </a:extLst>
          </p:cNvPr>
          <p:cNvSpPr txBox="1">
            <a:spLocks/>
          </p:cNvSpPr>
          <p:nvPr/>
        </p:nvSpPr>
        <p:spPr>
          <a:xfrm>
            <a:off x="2255269" y="0"/>
            <a:ext cx="7442790" cy="792748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AAR KRY ONS DIE FONDSE?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158841B-F64F-4940-90AD-3E88406817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0675266"/>
              </p:ext>
            </p:extLst>
          </p:nvPr>
        </p:nvGraphicFramePr>
        <p:xfrm>
          <a:off x="609600" y="563526"/>
          <a:ext cx="10972800" cy="6025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3741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402121" y="0"/>
            <a:ext cx="343927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APITAALPROJEKTE VIR WYK 3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2D2A1BF-6B13-43B1-BC39-97D94C5C5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1114744"/>
              </p:ext>
            </p:extLst>
          </p:nvPr>
        </p:nvGraphicFramePr>
        <p:xfrm>
          <a:off x="119336" y="400110"/>
          <a:ext cx="11953327" cy="6353118"/>
        </p:xfrm>
        <a:graphic>
          <a:graphicData uri="http://schemas.openxmlformats.org/drawingml/2006/table">
            <a:tbl>
              <a:tblPr/>
              <a:tblGrid>
                <a:gridCol w="3438523">
                  <a:extLst>
                    <a:ext uri="{9D8B030D-6E8A-4147-A177-3AD203B41FA5}">
                      <a16:colId xmlns:a16="http://schemas.microsoft.com/office/drawing/2014/main" val="2554788580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1066864631"/>
                    </a:ext>
                  </a:extLst>
                </a:gridCol>
                <a:gridCol w="1724025">
                  <a:extLst>
                    <a:ext uri="{9D8B030D-6E8A-4147-A177-3AD203B41FA5}">
                      <a16:colId xmlns:a16="http://schemas.microsoft.com/office/drawing/2014/main" val="3136923749"/>
                    </a:ext>
                  </a:extLst>
                </a:gridCol>
                <a:gridCol w="1647825">
                  <a:extLst>
                    <a:ext uri="{9D8B030D-6E8A-4147-A177-3AD203B41FA5}">
                      <a16:colId xmlns:a16="http://schemas.microsoft.com/office/drawing/2014/main" val="2128131752"/>
                    </a:ext>
                  </a:extLst>
                </a:gridCol>
                <a:gridCol w="1499916">
                  <a:extLst>
                    <a:ext uri="{9D8B030D-6E8A-4147-A177-3AD203B41FA5}">
                      <a16:colId xmlns:a16="http://schemas.microsoft.com/office/drawing/2014/main" val="2277578876"/>
                    </a:ext>
                  </a:extLst>
                </a:gridCol>
                <a:gridCol w="1890438">
                  <a:extLst>
                    <a:ext uri="{9D8B030D-6E8A-4147-A177-3AD203B41FA5}">
                      <a16:colId xmlns:a16="http://schemas.microsoft.com/office/drawing/2014/main" val="1456519935"/>
                    </a:ext>
                  </a:extLst>
                </a:gridCol>
              </a:tblGrid>
              <a:tr h="258647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WNDESCRIPTIO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BUD 22/23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BUD 23/2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BUD 24/25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UND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AR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946224"/>
                  </a:ext>
                </a:extLst>
              </a:tr>
              <a:tr h="440285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B Reservoi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8 5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g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&amp; 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49074"/>
                  </a:ext>
                </a:extLst>
              </a:tr>
              <a:tr h="440093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B Reservoir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2 91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nl-N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k 3 en 4 - (whole Piketberg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2303369"/>
                  </a:ext>
                </a:extLst>
              </a:tr>
              <a:tr h="657406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er Renewals (EL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8 775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 0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5 000 000,00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k  3 &amp; 4 - (Pipe Cracking - Priority list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9708008"/>
                  </a:ext>
                </a:extLst>
              </a:tr>
              <a:tr h="39206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B Roads and stormwate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4 073,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1161257"/>
                  </a:ext>
                </a:extLst>
              </a:tr>
              <a:tr h="50369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medial works on Roads - PB Industrial Are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5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2502528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e Side walks (PB)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7541509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medial works on Roads - </a:t>
                      </a:r>
                      <a:r>
                        <a:rPr lang="en-GB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lemberg</a:t>
                      </a: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oad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55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5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955366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B Sidewalks (low-cost)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 257 398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404927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tro-fit main substation oil circuit breaker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1 0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5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5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807987"/>
                  </a:ext>
                </a:extLst>
              </a:tr>
              <a:tr h="353217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urity behind municipal office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1 5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l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6656405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e Refuse building - PB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2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364228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urity Fence at Irrigation dam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4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555122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surface Drain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75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2131940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ncing Rhino Park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5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266669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itch Covers (PB)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3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909131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ncing Watsonia Sportsground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5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3867242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B New netball courts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3 625 696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g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375679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tor Piketberg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2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771654"/>
                  </a:ext>
                </a:extLst>
              </a:tr>
              <a:tr h="25444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port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00 000,00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780215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987525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932C9DD-4A9A-4065-B1B2-A4642C71F7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77881"/>
              </p:ext>
            </p:extLst>
          </p:nvPr>
        </p:nvGraphicFramePr>
        <p:xfrm>
          <a:off x="238672" y="514351"/>
          <a:ext cx="11714656" cy="615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itle 4">
            <a:extLst>
              <a:ext uri="{FF2B5EF4-FFF2-40B4-BE49-F238E27FC236}">
                <a16:creationId xmlns:a16="http://schemas.microsoft.com/office/drawing/2014/main" id="{D9A7C1C6-855E-4279-8D5C-4935B93B6E9D}"/>
              </a:ext>
            </a:extLst>
          </p:cNvPr>
          <p:cNvSpPr txBox="1">
            <a:spLocks/>
          </p:cNvSpPr>
          <p:nvPr/>
        </p:nvSpPr>
        <p:spPr>
          <a:xfrm>
            <a:off x="1837660" y="68489"/>
            <a:ext cx="8516680" cy="526934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OTALE UITGAWES R  493,616,273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4459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8662440-CCD5-4F30-AEFE-556DCBA57E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649696"/>
              </p:ext>
            </p:extLst>
          </p:nvPr>
        </p:nvGraphicFramePr>
        <p:xfrm>
          <a:off x="526415" y="218435"/>
          <a:ext cx="11139170" cy="6569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2072">
                  <a:extLst>
                    <a:ext uri="{9D8B030D-6E8A-4147-A177-3AD203B41FA5}">
                      <a16:colId xmlns:a16="http://schemas.microsoft.com/office/drawing/2014/main" val="1288111138"/>
                    </a:ext>
                  </a:extLst>
                </a:gridCol>
                <a:gridCol w="3007828">
                  <a:extLst>
                    <a:ext uri="{9D8B030D-6E8A-4147-A177-3AD203B41FA5}">
                      <a16:colId xmlns:a16="http://schemas.microsoft.com/office/drawing/2014/main" val="2720098876"/>
                    </a:ext>
                  </a:extLst>
                </a:gridCol>
                <a:gridCol w="2089270">
                  <a:extLst>
                    <a:ext uri="{9D8B030D-6E8A-4147-A177-3AD203B41FA5}">
                      <a16:colId xmlns:a16="http://schemas.microsoft.com/office/drawing/2014/main" val="1885895160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3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EDRYFSBEGROTING: GROOTSTE UITGAWES:  </a:t>
                      </a:r>
                      <a:endParaRPr lang="en-ZA" sz="3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83996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rknemerkostes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6 242 5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481711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otmaataankop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8 498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30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nisipale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12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67971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stof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i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04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8188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kontrakteerd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 347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220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er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itgawes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 484 5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333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sekeringskostes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296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961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mmunikasi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lefoo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inter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241 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3607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kstern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ditfooi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30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262510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mmissi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501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325945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orsiening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eg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kuld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 415 1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004788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ardevermindering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 668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95896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habilitasi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n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ortingsterrein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00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793860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30797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CG-PPT Master-121022-amc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cology 16x9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ture ecology education photo presentation.potx" id="{C2041BFC-79DD-469A-9C9C-CE3A45FF64F3}" vid="{F6D325B2-35D9-40C5-B4CD-C0A8483D5659}"/>
    </a:ext>
  </a:extLst>
</a:theme>
</file>

<file path=ppt/theme/theme3.xml><?xml version="1.0" encoding="utf-8"?>
<a:theme xmlns:a="http://schemas.openxmlformats.org/drawingml/2006/main" name="3_WCG-PPT Master-121022-amc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5_WCG-PPT Master-121022-amc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652</TotalTime>
  <Words>1610</Words>
  <Application>Microsoft Office PowerPoint</Application>
  <PresentationFormat>Widescreen</PresentationFormat>
  <Paragraphs>433</Paragraphs>
  <Slides>23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Bradley Hand ITC</vt:lpstr>
      <vt:lpstr>Calibri</vt:lpstr>
      <vt:lpstr>Calibri Light</vt:lpstr>
      <vt:lpstr>Century Gothic</vt:lpstr>
      <vt:lpstr>Corbel</vt:lpstr>
      <vt:lpstr>Times New Roman</vt:lpstr>
      <vt:lpstr>WCG-PPT Master-121022-amc</vt:lpstr>
      <vt:lpstr>Ecology 16x9</vt:lpstr>
      <vt:lpstr>3_WCG-PPT Master-121022-amc</vt:lpstr>
      <vt:lpstr>1_WCG-PPT Master-121022-amc</vt:lpstr>
      <vt:lpstr>5_WCG-PPT Master-121022-amc</vt:lpstr>
      <vt:lpstr>think-cell Slide</vt:lpstr>
      <vt:lpstr>PowerPoint Presentation</vt:lpstr>
      <vt:lpstr>PowerPoint Presentation</vt:lpstr>
      <vt:lpstr>MUNICIPALITY  ●  BERGRIVIER  ●  MUNISIPALITEI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UNICIPALITY  ●  BERGRIVIER  ●  MUNISIPALITEIT</vt:lpstr>
      <vt:lpstr>PowerPoint Presentation</vt:lpstr>
      <vt:lpstr>PowerPoint Presentation</vt:lpstr>
      <vt:lpstr>PowerPoint Presentation</vt:lpstr>
      <vt:lpstr>PowerPoint Presentation</vt:lpstr>
      <vt:lpstr>Stuur u kommentaar na sb@bergmun.org.za of cfo@bergmun.org.za voor 5 Mei 202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etta van Sittert</dc:creator>
  <cp:lastModifiedBy>Alletta van Sittert</cp:lastModifiedBy>
  <cp:revision>189</cp:revision>
  <cp:lastPrinted>2022-04-11T05:35:48Z</cp:lastPrinted>
  <dcterms:created xsi:type="dcterms:W3CDTF">2019-09-04T06:27:00Z</dcterms:created>
  <dcterms:modified xsi:type="dcterms:W3CDTF">2022-04-14T08:41:57Z</dcterms:modified>
</cp:coreProperties>
</file>